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media/image1.bin" ContentType="image/x-emf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media/image2.bin" ContentType="image/png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media/image3.bin" ContentType="image/png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ppt/tags/tag35.xml" ContentType="application/vnd.openxmlformats-officedocument.presentationml.tags+xml"/>
  <Override PartName="/ppt/notesSlides/notesSlide12.xml" ContentType="application/vnd.openxmlformats-officedocument.presentationml.notesSlide+xml"/>
  <Override PartName="/ppt/tags/tag36.xml" ContentType="application/vnd.openxmlformats-officedocument.presentationml.tags+xml"/>
  <Override PartName="/ppt/notesSlides/notesSlide13.xml" ContentType="application/vnd.openxmlformats-officedocument.presentationml.notesSlide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tags/tag38.xml" ContentType="application/vnd.openxmlformats-officedocument.presentationml.tags+xml"/>
  <Override PartName="/ppt/notesSlides/notesSlide15.xml" ContentType="application/vnd.openxmlformats-officedocument.presentationml.notesSlide+xml"/>
  <Override PartName="/ppt/tags/tag39.xml" ContentType="application/vnd.openxmlformats-officedocument.presentationml.tags+xml"/>
  <Override PartName="/ppt/notesSlides/notesSlide16.xml" ContentType="application/vnd.openxmlformats-officedocument.presentationml.notesSlide+xml"/>
  <Override PartName="/ppt/tags/tag40.xml" ContentType="application/vnd.openxmlformats-officedocument.presentationml.tags+xml"/>
  <Override PartName="/ppt/notesSlides/notesSlide17.xml" ContentType="application/vnd.openxmlformats-officedocument.presentationml.notesSlide+xml"/>
  <Override PartName="/ppt/tags/tag41.xml" ContentType="application/vnd.openxmlformats-officedocument.presentationml.tags+xml"/>
  <Override PartName="/ppt/notesSlides/notesSlide18.xml" ContentType="application/vnd.openxmlformats-officedocument.presentationml.notesSlide+xml"/>
  <Override PartName="/ppt/tags/tag42.xml" ContentType="application/vnd.openxmlformats-officedocument.presentationml.tags+xml"/>
  <Override PartName="/ppt/notesSlides/notesSlide19.xml" ContentType="application/vnd.openxmlformats-officedocument.presentationml.notesSlide+xml"/>
  <Override PartName="/ppt/tags/tag43.xml" ContentType="application/vnd.openxmlformats-officedocument.presentationml.tags+xml"/>
  <Override PartName="/ppt/notesSlides/notesSlide2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2"/>
  </p:notesMasterIdLst>
  <p:sldIdLst>
    <p:sldId id="256" r:id="rId3"/>
    <p:sldId id="498" r:id="rId4"/>
    <p:sldId id="471" r:id="rId5"/>
    <p:sldId id="481" r:id="rId6"/>
    <p:sldId id="483" r:id="rId7"/>
    <p:sldId id="484" r:id="rId8"/>
    <p:sldId id="473" r:id="rId9"/>
    <p:sldId id="489" r:id="rId10"/>
    <p:sldId id="499" r:id="rId11"/>
    <p:sldId id="503" r:id="rId12"/>
    <p:sldId id="474" r:id="rId13"/>
    <p:sldId id="507" r:id="rId14"/>
    <p:sldId id="508" r:id="rId15"/>
    <p:sldId id="515" r:id="rId16"/>
    <p:sldId id="514" r:id="rId17"/>
    <p:sldId id="475" r:id="rId18"/>
    <p:sldId id="506" r:id="rId19"/>
    <p:sldId id="476" r:id="rId20"/>
    <p:sldId id="511" r:id="rId21"/>
    <p:sldId id="510" r:id="rId22"/>
    <p:sldId id="530" r:id="rId23"/>
    <p:sldId id="532" r:id="rId24"/>
    <p:sldId id="518" r:id="rId25"/>
    <p:sldId id="520" r:id="rId26"/>
    <p:sldId id="523" r:id="rId27"/>
    <p:sldId id="524" r:id="rId28"/>
    <p:sldId id="526" r:id="rId29"/>
    <p:sldId id="529" r:id="rId30"/>
    <p:sldId id="512" r:id="rId3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3187D70-DCCE-4843-988D-9D60038F6D55}">
          <p14:sldIdLst>
            <p14:sldId id="256"/>
            <p14:sldId id="498"/>
            <p14:sldId id="471"/>
            <p14:sldId id="481"/>
            <p14:sldId id="483"/>
            <p14:sldId id="484"/>
            <p14:sldId id="473"/>
            <p14:sldId id="489"/>
            <p14:sldId id="499"/>
            <p14:sldId id="503"/>
            <p14:sldId id="474"/>
            <p14:sldId id="507"/>
            <p14:sldId id="508"/>
            <p14:sldId id="515"/>
            <p14:sldId id="514"/>
            <p14:sldId id="475"/>
            <p14:sldId id="506"/>
            <p14:sldId id="476"/>
            <p14:sldId id="511"/>
            <p14:sldId id="510"/>
            <p14:sldId id="530"/>
            <p14:sldId id="532"/>
            <p14:sldId id="518"/>
            <p14:sldId id="520"/>
            <p14:sldId id="523"/>
            <p14:sldId id="524"/>
            <p14:sldId id="526"/>
            <p14:sldId id="529"/>
            <p14:sldId id="51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BAB"/>
    <a:srgbClr val="FFFFFF"/>
    <a:srgbClr val="93F37B"/>
    <a:srgbClr val="F04D0A"/>
    <a:srgbClr val="E58912"/>
    <a:srgbClr val="EB6A0E"/>
    <a:srgbClr val="F82705"/>
    <a:srgbClr val="E94605"/>
    <a:srgbClr val="E1CA1F"/>
    <a:srgbClr val="E3E4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02CEC5-2DD9-4CE2-A587-B20116F670C1}" v="1319" dt="2024-01-07T19:38:21.3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389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0" d="100"/>
          <a:sy n="60" d="100"/>
        </p:scale>
        <p:origin x="326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z Muszarsky" userId="baa567244c442e54" providerId="LiveId" clId="{1302CEC5-2DD9-4CE2-A587-B20116F670C1}"/>
    <pc:docChg chg="undo custSel addSld delSld modSld sldOrd modMainMaster modSection">
      <pc:chgData name="Franz Muszarsky" userId="baa567244c442e54" providerId="LiveId" clId="{1302CEC5-2DD9-4CE2-A587-B20116F670C1}" dt="2024-01-07T19:40:03.115" v="6057" actId="20577"/>
      <pc:docMkLst>
        <pc:docMk/>
      </pc:docMkLst>
      <pc:sldChg chg="mod modShow">
        <pc:chgData name="Franz Muszarsky" userId="baa567244c442e54" providerId="LiveId" clId="{1302CEC5-2DD9-4CE2-A587-B20116F670C1}" dt="2024-01-07T17:43:54.580" v="5720" actId="729"/>
        <pc:sldMkLst>
          <pc:docMk/>
          <pc:sldMk cId="848714989" sldId="256"/>
        </pc:sldMkLst>
      </pc:sldChg>
      <pc:sldChg chg="modSp mod">
        <pc:chgData name="Franz Muszarsky" userId="baa567244c442e54" providerId="LiveId" clId="{1302CEC5-2DD9-4CE2-A587-B20116F670C1}" dt="2024-01-07T15:51:48.776" v="1518" actId="1076"/>
        <pc:sldMkLst>
          <pc:docMk/>
          <pc:sldMk cId="693194424" sldId="476"/>
        </pc:sldMkLst>
        <pc:spChg chg="mod">
          <ac:chgData name="Franz Muszarsky" userId="baa567244c442e54" providerId="LiveId" clId="{1302CEC5-2DD9-4CE2-A587-B20116F670C1}" dt="2024-01-07T15:51:48.776" v="1518" actId="1076"/>
          <ac:spMkLst>
            <pc:docMk/>
            <pc:sldMk cId="693194424" sldId="476"/>
            <ac:spMk id="2" creationId="{D66BAC33-0E17-A443-A36A-FE8E97916217}"/>
          </ac:spMkLst>
        </pc:spChg>
      </pc:sldChg>
      <pc:sldChg chg="modSp mod">
        <pc:chgData name="Franz Muszarsky" userId="baa567244c442e54" providerId="LiveId" clId="{1302CEC5-2DD9-4CE2-A587-B20116F670C1}" dt="2024-01-07T17:49:58.367" v="5739" actId="20577"/>
        <pc:sldMkLst>
          <pc:docMk/>
          <pc:sldMk cId="2781029435" sldId="489"/>
        </pc:sldMkLst>
        <pc:spChg chg="mod">
          <ac:chgData name="Franz Muszarsky" userId="baa567244c442e54" providerId="LiveId" clId="{1302CEC5-2DD9-4CE2-A587-B20116F670C1}" dt="2024-01-07T17:49:53.413" v="5735" actId="20577"/>
          <ac:spMkLst>
            <pc:docMk/>
            <pc:sldMk cId="2781029435" sldId="489"/>
            <ac:spMk id="72" creationId="{B5652194-27C9-1428-3825-7C33B4BFD22D}"/>
          </ac:spMkLst>
        </pc:spChg>
        <pc:spChg chg="mod">
          <ac:chgData name="Franz Muszarsky" userId="baa567244c442e54" providerId="LiveId" clId="{1302CEC5-2DD9-4CE2-A587-B20116F670C1}" dt="2024-01-07T17:49:58.367" v="5739" actId="20577"/>
          <ac:spMkLst>
            <pc:docMk/>
            <pc:sldMk cId="2781029435" sldId="489"/>
            <ac:spMk id="84" creationId="{0D6392DE-49B7-1447-3703-CC33D3C6404C}"/>
          </ac:spMkLst>
        </pc:spChg>
        <pc:spChg chg="mod">
          <ac:chgData name="Franz Muszarsky" userId="baa567244c442e54" providerId="LiveId" clId="{1302CEC5-2DD9-4CE2-A587-B20116F670C1}" dt="2024-01-07T17:48:18.863" v="5729" actId="6549"/>
          <ac:spMkLst>
            <pc:docMk/>
            <pc:sldMk cId="2781029435" sldId="489"/>
            <ac:spMk id="101" creationId="{13E66FF1-E53A-9FC8-81E5-48EBF7B54F63}"/>
          </ac:spMkLst>
        </pc:spChg>
        <pc:spChg chg="mod">
          <ac:chgData name="Franz Muszarsky" userId="baa567244c442e54" providerId="LiveId" clId="{1302CEC5-2DD9-4CE2-A587-B20116F670C1}" dt="2024-01-07T17:48:16.120" v="5728" actId="20577"/>
          <ac:spMkLst>
            <pc:docMk/>
            <pc:sldMk cId="2781029435" sldId="489"/>
            <ac:spMk id="102" creationId="{0402D234-43C3-4A81-A5DE-722E3E0DABF0}"/>
          </ac:spMkLst>
        </pc:spChg>
      </pc:sldChg>
      <pc:sldChg chg="modSp mod">
        <pc:chgData name="Franz Muszarsky" userId="baa567244c442e54" providerId="LiveId" clId="{1302CEC5-2DD9-4CE2-A587-B20116F670C1}" dt="2024-01-07T17:50:51.284" v="5771" actId="20577"/>
        <pc:sldMkLst>
          <pc:docMk/>
          <pc:sldMk cId="2208108291" sldId="499"/>
        </pc:sldMkLst>
        <pc:spChg chg="mod">
          <ac:chgData name="Franz Muszarsky" userId="baa567244c442e54" providerId="LiveId" clId="{1302CEC5-2DD9-4CE2-A587-B20116F670C1}" dt="2024-01-07T17:50:31.330" v="5757" actId="20577"/>
          <ac:spMkLst>
            <pc:docMk/>
            <pc:sldMk cId="2208108291" sldId="499"/>
            <ac:spMk id="29" creationId="{6196A370-EB53-E831-6815-55D28C21422E}"/>
          </ac:spMkLst>
        </pc:spChg>
        <pc:spChg chg="mod">
          <ac:chgData name="Franz Muszarsky" userId="baa567244c442e54" providerId="LiveId" clId="{1302CEC5-2DD9-4CE2-A587-B20116F670C1}" dt="2024-01-07T17:50:13.711" v="5747" actId="20577"/>
          <ac:spMkLst>
            <pc:docMk/>
            <pc:sldMk cId="2208108291" sldId="499"/>
            <ac:spMk id="34" creationId="{CB47800D-5F21-3091-8989-A7521D639921}"/>
          </ac:spMkLst>
        </pc:spChg>
        <pc:spChg chg="mod">
          <ac:chgData name="Franz Muszarsky" userId="baa567244c442e54" providerId="LiveId" clId="{1302CEC5-2DD9-4CE2-A587-B20116F670C1}" dt="2024-01-07T17:50:36.474" v="5761" actId="20577"/>
          <ac:spMkLst>
            <pc:docMk/>
            <pc:sldMk cId="2208108291" sldId="499"/>
            <ac:spMk id="39" creationId="{C459DCD9-870F-1EDF-F19D-842908692306}"/>
          </ac:spMkLst>
        </pc:spChg>
        <pc:spChg chg="mod">
          <ac:chgData name="Franz Muszarsky" userId="baa567244c442e54" providerId="LiveId" clId="{1302CEC5-2DD9-4CE2-A587-B20116F670C1}" dt="2024-01-07T17:50:38.566" v="5763" actId="20577"/>
          <ac:spMkLst>
            <pc:docMk/>
            <pc:sldMk cId="2208108291" sldId="499"/>
            <ac:spMk id="41" creationId="{F2A8D9C3-6CDB-1A36-50C3-A1741DDBDF24}"/>
          </ac:spMkLst>
        </pc:spChg>
        <pc:spChg chg="mod">
          <ac:chgData name="Franz Muszarsky" userId="baa567244c442e54" providerId="LiveId" clId="{1302CEC5-2DD9-4CE2-A587-B20116F670C1}" dt="2024-01-07T17:50:48.773" v="5769" actId="20577"/>
          <ac:spMkLst>
            <pc:docMk/>
            <pc:sldMk cId="2208108291" sldId="499"/>
            <ac:spMk id="43" creationId="{45B09FBD-89D5-8A89-53C6-21FB725FD5FA}"/>
          </ac:spMkLst>
        </pc:spChg>
        <pc:spChg chg="mod">
          <ac:chgData name="Franz Muszarsky" userId="baa567244c442e54" providerId="LiveId" clId="{1302CEC5-2DD9-4CE2-A587-B20116F670C1}" dt="2024-01-07T17:50:51.284" v="5771" actId="20577"/>
          <ac:spMkLst>
            <pc:docMk/>
            <pc:sldMk cId="2208108291" sldId="499"/>
            <ac:spMk id="45" creationId="{59DE5C9E-89A8-C8B6-5BCF-028B72F09842}"/>
          </ac:spMkLst>
        </pc:spChg>
      </pc:sldChg>
      <pc:sldChg chg="addSp delSp modSp mod delAnim modAnim">
        <pc:chgData name="Franz Muszarsky" userId="baa567244c442e54" providerId="LiveId" clId="{1302CEC5-2DD9-4CE2-A587-B20116F670C1}" dt="2024-01-07T17:54:04.109" v="5872"/>
        <pc:sldMkLst>
          <pc:docMk/>
          <pc:sldMk cId="132884796" sldId="506"/>
        </pc:sldMkLst>
        <pc:spChg chg="mod">
          <ac:chgData name="Franz Muszarsky" userId="baa567244c442e54" providerId="LiveId" clId="{1302CEC5-2DD9-4CE2-A587-B20116F670C1}" dt="2024-01-07T16:13:34.246" v="2341" actId="20577"/>
          <ac:spMkLst>
            <pc:docMk/>
            <pc:sldMk cId="132884796" sldId="506"/>
            <ac:spMk id="2" creationId="{D66BAC33-0E17-A443-A36A-FE8E97916217}"/>
          </ac:spMkLst>
        </pc:spChg>
        <pc:spChg chg="add del mod">
          <ac:chgData name="Franz Muszarsky" userId="baa567244c442e54" providerId="LiveId" clId="{1302CEC5-2DD9-4CE2-A587-B20116F670C1}" dt="2024-01-07T16:08:53.534" v="2186" actId="207"/>
          <ac:spMkLst>
            <pc:docMk/>
            <pc:sldMk cId="132884796" sldId="506"/>
            <ac:spMk id="4" creationId="{7DCC6D1D-BD84-B066-5FE4-B8CF7982AAB5}"/>
          </ac:spMkLst>
        </pc:spChg>
        <pc:spChg chg="add mod">
          <ac:chgData name="Franz Muszarsky" userId="baa567244c442e54" providerId="LiveId" clId="{1302CEC5-2DD9-4CE2-A587-B20116F670C1}" dt="2024-01-07T16:05:58.311" v="2057" actId="571"/>
          <ac:spMkLst>
            <pc:docMk/>
            <pc:sldMk cId="132884796" sldId="506"/>
            <ac:spMk id="5" creationId="{62C75566-46F9-F8DE-FA80-D852E3F3829A}"/>
          </ac:spMkLst>
        </pc:spChg>
        <pc:spChg chg="add mod">
          <ac:chgData name="Franz Muszarsky" userId="baa567244c442e54" providerId="LiveId" clId="{1302CEC5-2DD9-4CE2-A587-B20116F670C1}" dt="2024-01-07T17:53:33.324" v="5869" actId="1076"/>
          <ac:spMkLst>
            <pc:docMk/>
            <pc:sldMk cId="132884796" sldId="506"/>
            <ac:spMk id="17" creationId="{3A970D2A-E1D5-89DB-FABF-698B55331099}"/>
          </ac:spMkLst>
        </pc:spChg>
        <pc:spChg chg="add mod">
          <ac:chgData name="Franz Muszarsky" userId="baa567244c442e54" providerId="LiveId" clId="{1302CEC5-2DD9-4CE2-A587-B20116F670C1}" dt="2024-01-07T17:51:25.192" v="5779" actId="20577"/>
          <ac:spMkLst>
            <pc:docMk/>
            <pc:sldMk cId="132884796" sldId="506"/>
            <ac:spMk id="18" creationId="{CC1F1408-F491-9157-88FB-DC0D89AB7B7D}"/>
          </ac:spMkLst>
        </pc:spChg>
        <pc:spChg chg="mod">
          <ac:chgData name="Franz Muszarsky" userId="baa567244c442e54" providerId="LiveId" clId="{1302CEC5-2DD9-4CE2-A587-B20116F670C1}" dt="2024-01-07T16:05:08.479" v="2050" actId="1076"/>
          <ac:spMkLst>
            <pc:docMk/>
            <pc:sldMk cId="132884796" sldId="506"/>
            <ac:spMk id="41" creationId="{FE7C0328-569D-4FF6-EFE2-F5C1D8CFBD55}"/>
          </ac:spMkLst>
        </pc:spChg>
        <pc:spChg chg="mod">
          <ac:chgData name="Franz Muszarsky" userId="baa567244c442e54" providerId="LiveId" clId="{1302CEC5-2DD9-4CE2-A587-B20116F670C1}" dt="2024-01-07T16:05:32.093" v="2055" actId="1076"/>
          <ac:spMkLst>
            <pc:docMk/>
            <pc:sldMk cId="132884796" sldId="506"/>
            <ac:spMk id="42" creationId="{9DB6B5AD-BEC3-DD7E-605C-7F82370CA033}"/>
          </ac:spMkLst>
        </pc:spChg>
        <pc:spChg chg="mod">
          <ac:chgData name="Franz Muszarsky" userId="baa567244c442e54" providerId="LiveId" clId="{1302CEC5-2DD9-4CE2-A587-B20116F670C1}" dt="2024-01-07T16:05:36.675" v="2056" actId="1076"/>
          <ac:spMkLst>
            <pc:docMk/>
            <pc:sldMk cId="132884796" sldId="506"/>
            <ac:spMk id="45" creationId="{6ABA3660-A532-E6B9-5B79-0FB628765CFF}"/>
          </ac:spMkLst>
        </pc:spChg>
        <pc:spChg chg="mod">
          <ac:chgData name="Franz Muszarsky" userId="baa567244c442e54" providerId="LiveId" clId="{1302CEC5-2DD9-4CE2-A587-B20116F670C1}" dt="2024-01-07T17:53:20.773" v="5866" actId="20577"/>
          <ac:spMkLst>
            <pc:docMk/>
            <pc:sldMk cId="132884796" sldId="506"/>
            <ac:spMk id="47" creationId="{FBECF220-E6F1-2EAB-99A8-9FE44FB50BCA}"/>
          </ac:spMkLst>
        </pc:spChg>
        <pc:spChg chg="mod">
          <ac:chgData name="Franz Muszarsky" userId="baa567244c442e54" providerId="LiveId" clId="{1302CEC5-2DD9-4CE2-A587-B20116F670C1}" dt="2024-01-07T17:53:27.898" v="5868" actId="20577"/>
          <ac:spMkLst>
            <pc:docMk/>
            <pc:sldMk cId="132884796" sldId="506"/>
            <ac:spMk id="48" creationId="{14849DD2-A8AE-D96B-8038-D4FAD3AB65DB}"/>
          </ac:spMkLst>
        </pc:spChg>
        <pc:spChg chg="mod">
          <ac:chgData name="Franz Muszarsky" userId="baa567244c442e54" providerId="LiveId" clId="{1302CEC5-2DD9-4CE2-A587-B20116F670C1}" dt="2024-01-07T16:05:08.479" v="2050" actId="1076"/>
          <ac:spMkLst>
            <pc:docMk/>
            <pc:sldMk cId="132884796" sldId="506"/>
            <ac:spMk id="67" creationId="{E2F8176D-B747-452F-D065-45513620ED20}"/>
          </ac:spMkLst>
        </pc:spChg>
        <pc:spChg chg="mod">
          <ac:chgData name="Franz Muszarsky" userId="baa567244c442e54" providerId="LiveId" clId="{1302CEC5-2DD9-4CE2-A587-B20116F670C1}" dt="2024-01-07T16:08:24.991" v="2183" actId="1076"/>
          <ac:spMkLst>
            <pc:docMk/>
            <pc:sldMk cId="132884796" sldId="506"/>
            <ac:spMk id="71" creationId="{69EC1DF7-A945-9554-1B47-5D6BCC793100}"/>
          </ac:spMkLst>
        </pc:spChg>
        <pc:spChg chg="del mod">
          <ac:chgData name="Franz Muszarsky" userId="baa567244c442e54" providerId="LiveId" clId="{1302CEC5-2DD9-4CE2-A587-B20116F670C1}" dt="2024-01-07T16:07:51.236" v="2162" actId="478"/>
          <ac:spMkLst>
            <pc:docMk/>
            <pc:sldMk cId="132884796" sldId="506"/>
            <ac:spMk id="81" creationId="{6211F645-C122-CC8B-3E3A-D995129D8B6D}"/>
          </ac:spMkLst>
        </pc:spChg>
        <pc:spChg chg="mod">
          <ac:chgData name="Franz Muszarsky" userId="baa567244c442e54" providerId="LiveId" clId="{1302CEC5-2DD9-4CE2-A587-B20116F670C1}" dt="2024-01-07T16:05:08.479" v="2050" actId="1076"/>
          <ac:spMkLst>
            <pc:docMk/>
            <pc:sldMk cId="132884796" sldId="506"/>
            <ac:spMk id="109" creationId="{F0BA4A35-13AD-4882-2EA3-0B84B8F36571}"/>
          </ac:spMkLst>
        </pc:spChg>
        <pc:picChg chg="add mod">
          <ac:chgData name="Franz Muszarsky" userId="baa567244c442e54" providerId="LiveId" clId="{1302CEC5-2DD9-4CE2-A587-B20116F670C1}" dt="2024-01-07T16:08:33.940" v="2185" actId="1076"/>
          <ac:picMkLst>
            <pc:docMk/>
            <pc:sldMk cId="132884796" sldId="506"/>
            <ac:picMk id="3" creationId="{7466CC84-5B50-EDCC-0B35-F392C74E2711}"/>
          </ac:picMkLst>
        </pc:picChg>
        <pc:picChg chg="add del mod">
          <ac:chgData name="Franz Muszarsky" userId="baa567244c442e54" providerId="LiveId" clId="{1302CEC5-2DD9-4CE2-A587-B20116F670C1}" dt="2024-01-07T16:07:39.312" v="2155" actId="478"/>
          <ac:picMkLst>
            <pc:docMk/>
            <pc:sldMk cId="132884796" sldId="506"/>
            <ac:picMk id="6" creationId="{4D864CC2-F61C-6CF8-7494-73163D037FE8}"/>
          </ac:picMkLst>
        </pc:picChg>
        <pc:picChg chg="add del mod">
          <ac:chgData name="Franz Muszarsky" userId="baa567244c442e54" providerId="LiveId" clId="{1302CEC5-2DD9-4CE2-A587-B20116F670C1}" dt="2024-01-07T16:07:39.965" v="2156" actId="478"/>
          <ac:picMkLst>
            <pc:docMk/>
            <pc:sldMk cId="132884796" sldId="506"/>
            <ac:picMk id="7" creationId="{EBB81AD6-F6B2-C827-8A1F-CA4FA094DD4B}"/>
          </ac:picMkLst>
        </pc:picChg>
        <pc:picChg chg="add del mod">
          <ac:chgData name="Franz Muszarsky" userId="baa567244c442e54" providerId="LiveId" clId="{1302CEC5-2DD9-4CE2-A587-B20116F670C1}" dt="2024-01-07T16:07:40.737" v="2157" actId="478"/>
          <ac:picMkLst>
            <pc:docMk/>
            <pc:sldMk cId="132884796" sldId="506"/>
            <ac:picMk id="8" creationId="{9628C872-5A1A-420D-F434-FAEC9E6754CE}"/>
          </ac:picMkLst>
        </pc:picChg>
        <pc:picChg chg="add del mod">
          <ac:chgData name="Franz Muszarsky" userId="baa567244c442e54" providerId="LiveId" clId="{1302CEC5-2DD9-4CE2-A587-B20116F670C1}" dt="2024-01-07T16:07:46.903" v="2160" actId="478"/>
          <ac:picMkLst>
            <pc:docMk/>
            <pc:sldMk cId="132884796" sldId="506"/>
            <ac:picMk id="15" creationId="{2BBB9C01-B953-3A5D-D062-DE5776BF6271}"/>
          </ac:picMkLst>
        </pc:picChg>
        <pc:picChg chg="add del mod">
          <ac:chgData name="Franz Muszarsky" userId="baa567244c442e54" providerId="LiveId" clId="{1302CEC5-2DD9-4CE2-A587-B20116F670C1}" dt="2024-01-07T16:07:38.432" v="2154" actId="478"/>
          <ac:picMkLst>
            <pc:docMk/>
            <pc:sldMk cId="132884796" sldId="506"/>
            <ac:picMk id="16" creationId="{814BA74B-C69A-2DF5-ADF4-2DF51476CE9A}"/>
          </ac:picMkLst>
        </pc:picChg>
        <pc:picChg chg="add mod">
          <ac:chgData name="Franz Muszarsky" userId="baa567244c442e54" providerId="LiveId" clId="{1302CEC5-2DD9-4CE2-A587-B20116F670C1}" dt="2024-01-07T16:08:19.321" v="2182" actId="1036"/>
          <ac:picMkLst>
            <pc:docMk/>
            <pc:sldMk cId="132884796" sldId="506"/>
            <ac:picMk id="20" creationId="{30976525-8E2B-4A59-A593-B0F8405C24BB}"/>
          </ac:picMkLst>
        </pc:picChg>
        <pc:picChg chg="add del mod">
          <ac:chgData name="Franz Muszarsky" userId="baa567244c442e54" providerId="LiveId" clId="{1302CEC5-2DD9-4CE2-A587-B20116F670C1}" dt="2024-01-07T16:08:12.322" v="2169" actId="478"/>
          <ac:picMkLst>
            <pc:docMk/>
            <pc:sldMk cId="132884796" sldId="506"/>
            <ac:picMk id="22" creationId="{1081B8A3-1DB7-C816-F42E-05BD988FB987}"/>
          </ac:picMkLst>
        </pc:picChg>
        <pc:picChg chg="mod">
          <ac:chgData name="Franz Muszarsky" userId="baa567244c442e54" providerId="LiveId" clId="{1302CEC5-2DD9-4CE2-A587-B20116F670C1}" dt="2024-01-07T16:05:08.479" v="2050" actId="1076"/>
          <ac:picMkLst>
            <pc:docMk/>
            <pc:sldMk cId="132884796" sldId="506"/>
            <ac:picMk id="29" creationId="{8E7CE5BC-87FA-316F-357A-8681B7DFBB8F}"/>
          </ac:picMkLst>
        </pc:picChg>
        <pc:picChg chg="mod">
          <ac:chgData name="Franz Muszarsky" userId="baa567244c442e54" providerId="LiveId" clId="{1302CEC5-2DD9-4CE2-A587-B20116F670C1}" dt="2024-01-07T16:05:08.479" v="2050" actId="1076"/>
          <ac:picMkLst>
            <pc:docMk/>
            <pc:sldMk cId="132884796" sldId="506"/>
            <ac:picMk id="31" creationId="{5C2E3F93-960A-71DC-6EE3-82105DDA170A}"/>
          </ac:picMkLst>
        </pc:picChg>
        <pc:picChg chg="mod">
          <ac:chgData name="Franz Muszarsky" userId="baa567244c442e54" providerId="LiveId" clId="{1302CEC5-2DD9-4CE2-A587-B20116F670C1}" dt="2024-01-07T16:05:08.479" v="2050" actId="1076"/>
          <ac:picMkLst>
            <pc:docMk/>
            <pc:sldMk cId="132884796" sldId="506"/>
            <ac:picMk id="33" creationId="{7577E88E-E329-5F3B-6AB5-7283D2D8BCEB}"/>
          </ac:picMkLst>
        </pc:picChg>
        <pc:picChg chg="mod">
          <ac:chgData name="Franz Muszarsky" userId="baa567244c442e54" providerId="LiveId" clId="{1302CEC5-2DD9-4CE2-A587-B20116F670C1}" dt="2024-01-07T16:05:08.479" v="2050" actId="1076"/>
          <ac:picMkLst>
            <pc:docMk/>
            <pc:sldMk cId="132884796" sldId="506"/>
            <ac:picMk id="38" creationId="{2E48D220-2761-5CE2-28C1-14B3168D7B18}"/>
          </ac:picMkLst>
        </pc:picChg>
        <pc:picChg chg="mod">
          <ac:chgData name="Franz Muszarsky" userId="baa567244c442e54" providerId="LiveId" clId="{1302CEC5-2DD9-4CE2-A587-B20116F670C1}" dt="2024-01-07T16:05:08.479" v="2050" actId="1076"/>
          <ac:picMkLst>
            <pc:docMk/>
            <pc:sldMk cId="132884796" sldId="506"/>
            <ac:picMk id="40" creationId="{21A284CD-BF51-73F1-31A5-F3E0EAD2C2CD}"/>
          </ac:picMkLst>
        </pc:picChg>
        <pc:picChg chg="mod">
          <ac:chgData name="Franz Muszarsky" userId="baa567244c442e54" providerId="LiveId" clId="{1302CEC5-2DD9-4CE2-A587-B20116F670C1}" dt="2024-01-07T16:08:29.679" v="2184" actId="1076"/>
          <ac:picMkLst>
            <pc:docMk/>
            <pc:sldMk cId="132884796" sldId="506"/>
            <ac:picMk id="43" creationId="{543B92FA-8FF3-07CA-B86A-2D61CF706D11}"/>
          </ac:picMkLst>
        </pc:picChg>
        <pc:picChg chg="mod">
          <ac:chgData name="Franz Muszarsky" userId="baa567244c442e54" providerId="LiveId" clId="{1302CEC5-2DD9-4CE2-A587-B20116F670C1}" dt="2024-01-07T16:08:24.991" v="2183" actId="1076"/>
          <ac:picMkLst>
            <pc:docMk/>
            <pc:sldMk cId="132884796" sldId="506"/>
            <ac:picMk id="44" creationId="{7BEEFDFC-D7C0-B8A6-585A-DC1E2DFF5226}"/>
          </ac:picMkLst>
        </pc:picChg>
      </pc:sldChg>
      <pc:sldChg chg="modSp mod">
        <pc:chgData name="Franz Muszarsky" userId="baa567244c442e54" providerId="LiveId" clId="{1302CEC5-2DD9-4CE2-A587-B20116F670C1}" dt="2024-01-07T15:22:11.456" v="339" actId="207"/>
        <pc:sldMkLst>
          <pc:docMk/>
          <pc:sldMk cId="1197769001" sldId="507"/>
        </pc:sldMkLst>
        <pc:spChg chg="mod">
          <ac:chgData name="Franz Muszarsky" userId="baa567244c442e54" providerId="LiveId" clId="{1302CEC5-2DD9-4CE2-A587-B20116F670C1}" dt="2024-01-07T15:22:11.456" v="339" actId="207"/>
          <ac:spMkLst>
            <pc:docMk/>
            <pc:sldMk cId="1197769001" sldId="507"/>
            <ac:spMk id="27" creationId="{144EF408-4ACF-FE78-6D51-99E30A8CCFB5}"/>
          </ac:spMkLst>
        </pc:spChg>
        <pc:spChg chg="mod">
          <ac:chgData name="Franz Muszarsky" userId="baa567244c442e54" providerId="LiveId" clId="{1302CEC5-2DD9-4CE2-A587-B20116F670C1}" dt="2024-01-07T15:22:11.456" v="339" actId="207"/>
          <ac:spMkLst>
            <pc:docMk/>
            <pc:sldMk cId="1197769001" sldId="507"/>
            <ac:spMk id="28" creationId="{8DA951FC-0CA6-737D-9C65-F8C3CACC50A0}"/>
          </ac:spMkLst>
        </pc:spChg>
        <pc:spChg chg="mod">
          <ac:chgData name="Franz Muszarsky" userId="baa567244c442e54" providerId="LiveId" clId="{1302CEC5-2DD9-4CE2-A587-B20116F670C1}" dt="2024-01-07T15:22:11.456" v="339" actId="207"/>
          <ac:spMkLst>
            <pc:docMk/>
            <pc:sldMk cId="1197769001" sldId="507"/>
            <ac:spMk id="29" creationId="{21DE7C20-20F2-F11B-3FE7-0DA4F9F36928}"/>
          </ac:spMkLst>
        </pc:spChg>
        <pc:grpChg chg="mod">
          <ac:chgData name="Franz Muszarsky" userId="baa567244c442e54" providerId="LiveId" clId="{1302CEC5-2DD9-4CE2-A587-B20116F670C1}" dt="2024-01-07T15:21:48.232" v="335" actId="1076"/>
          <ac:grpSpMkLst>
            <pc:docMk/>
            <pc:sldMk cId="1197769001" sldId="507"/>
            <ac:grpSpMk id="26" creationId="{A3DBA363-6E56-5B6E-B950-B4FBA0627617}"/>
          </ac:grpSpMkLst>
        </pc:grpChg>
      </pc:sldChg>
      <pc:sldChg chg="modSp mod">
        <pc:chgData name="Franz Muszarsky" userId="baa567244c442e54" providerId="LiveId" clId="{1302CEC5-2DD9-4CE2-A587-B20116F670C1}" dt="2024-01-07T19:36:34.781" v="6010" actId="20577"/>
        <pc:sldMkLst>
          <pc:docMk/>
          <pc:sldMk cId="425448361" sldId="508"/>
        </pc:sldMkLst>
        <pc:spChg chg="mod">
          <ac:chgData name="Franz Muszarsky" userId="baa567244c442e54" providerId="LiveId" clId="{1302CEC5-2DD9-4CE2-A587-B20116F670C1}" dt="2024-01-07T19:36:34.781" v="6010" actId="20577"/>
          <ac:spMkLst>
            <pc:docMk/>
            <pc:sldMk cId="425448361" sldId="508"/>
            <ac:spMk id="102" creationId="{0402D234-43C3-4A81-A5DE-722E3E0DABF0}"/>
          </ac:spMkLst>
        </pc:spChg>
      </pc:sldChg>
      <pc:sldChg chg="del">
        <pc:chgData name="Franz Muszarsky" userId="baa567244c442e54" providerId="LiveId" clId="{1302CEC5-2DD9-4CE2-A587-B20116F670C1}" dt="2024-01-07T16:54:36.323" v="3967" actId="47"/>
        <pc:sldMkLst>
          <pc:docMk/>
          <pc:sldMk cId="4151075004" sldId="513"/>
        </pc:sldMkLst>
      </pc:sldChg>
      <pc:sldChg chg="modSp mod">
        <pc:chgData name="Franz Muszarsky" userId="baa567244c442e54" providerId="LiveId" clId="{1302CEC5-2DD9-4CE2-A587-B20116F670C1}" dt="2024-01-07T19:36:48.440" v="6024" actId="20577"/>
        <pc:sldMkLst>
          <pc:docMk/>
          <pc:sldMk cId="1118318498" sldId="514"/>
        </pc:sldMkLst>
        <pc:spChg chg="mod">
          <ac:chgData name="Franz Muszarsky" userId="baa567244c442e54" providerId="LiveId" clId="{1302CEC5-2DD9-4CE2-A587-B20116F670C1}" dt="2024-01-07T19:36:48.440" v="6024" actId="20577"/>
          <ac:spMkLst>
            <pc:docMk/>
            <pc:sldMk cId="1118318498" sldId="514"/>
            <ac:spMk id="102" creationId="{0402D234-43C3-4A81-A5DE-722E3E0DABF0}"/>
          </ac:spMkLst>
        </pc:spChg>
      </pc:sldChg>
      <pc:sldChg chg="modSp mod">
        <pc:chgData name="Franz Muszarsky" userId="baa567244c442e54" providerId="LiveId" clId="{1302CEC5-2DD9-4CE2-A587-B20116F670C1}" dt="2024-01-07T19:36:42.951" v="6017" actId="20577"/>
        <pc:sldMkLst>
          <pc:docMk/>
          <pc:sldMk cId="159717270" sldId="515"/>
        </pc:sldMkLst>
        <pc:spChg chg="mod">
          <ac:chgData name="Franz Muszarsky" userId="baa567244c442e54" providerId="LiveId" clId="{1302CEC5-2DD9-4CE2-A587-B20116F670C1}" dt="2024-01-07T19:36:42.951" v="6017" actId="20577"/>
          <ac:spMkLst>
            <pc:docMk/>
            <pc:sldMk cId="159717270" sldId="515"/>
            <ac:spMk id="102" creationId="{0402D234-43C3-4A81-A5DE-722E3E0DABF0}"/>
          </ac:spMkLst>
        </pc:spChg>
      </pc:sldChg>
      <pc:sldChg chg="addSp delSp modSp add del mod delAnim modAnim">
        <pc:chgData name="Franz Muszarsky" userId="baa567244c442e54" providerId="LiveId" clId="{1302CEC5-2DD9-4CE2-A587-B20116F670C1}" dt="2024-01-07T16:55:37.710" v="3969" actId="47"/>
        <pc:sldMkLst>
          <pc:docMk/>
          <pc:sldMk cId="3804843701" sldId="516"/>
        </pc:sldMkLst>
        <pc:spChg chg="del mod">
          <ac:chgData name="Franz Muszarsky" userId="baa567244c442e54" providerId="LiveId" clId="{1302CEC5-2DD9-4CE2-A587-B20116F670C1}" dt="2024-01-07T16:43:58.947" v="3276" actId="478"/>
          <ac:spMkLst>
            <pc:docMk/>
            <pc:sldMk cId="3804843701" sldId="516"/>
            <ac:spMk id="2" creationId="{A31F344D-1760-8D98-4EEC-5A099F73EB54}"/>
          </ac:spMkLst>
        </pc:spChg>
        <pc:spChg chg="mod">
          <ac:chgData name="Franz Muszarsky" userId="baa567244c442e54" providerId="LiveId" clId="{1302CEC5-2DD9-4CE2-A587-B20116F670C1}" dt="2024-01-07T15:01:12.824" v="31" actId="20577"/>
          <ac:spMkLst>
            <pc:docMk/>
            <pc:sldMk cId="3804843701" sldId="516"/>
            <ac:spMk id="3" creationId="{043BE14F-CDF5-7A5E-86AD-B1C907529C7D}"/>
          </ac:spMkLst>
        </pc:spChg>
        <pc:spChg chg="del">
          <ac:chgData name="Franz Muszarsky" userId="baa567244c442e54" providerId="LiveId" clId="{1302CEC5-2DD9-4CE2-A587-B20116F670C1}" dt="2024-01-07T15:01:18.474" v="32" actId="478"/>
          <ac:spMkLst>
            <pc:docMk/>
            <pc:sldMk cId="3804843701" sldId="516"/>
            <ac:spMk id="11" creationId="{BF82085A-9893-757C-BCCE-87916DB9877B}"/>
          </ac:spMkLst>
        </pc:spChg>
        <pc:spChg chg="del mod">
          <ac:chgData name="Franz Muszarsky" userId="baa567244c442e54" providerId="LiveId" clId="{1302CEC5-2DD9-4CE2-A587-B20116F670C1}" dt="2024-01-07T15:01:06.354" v="3"/>
          <ac:spMkLst>
            <pc:docMk/>
            <pc:sldMk cId="3804843701" sldId="516"/>
            <ac:spMk id="14" creationId="{26454D39-C1C1-6250-6280-E5A0170E6F9A}"/>
          </ac:spMkLst>
        </pc:spChg>
        <pc:spChg chg="add del mod">
          <ac:chgData name="Franz Muszarsky" userId="baa567244c442e54" providerId="LiveId" clId="{1302CEC5-2DD9-4CE2-A587-B20116F670C1}" dt="2024-01-07T16:44:02.028" v="3277" actId="478"/>
          <ac:spMkLst>
            <pc:docMk/>
            <pc:sldMk cId="3804843701" sldId="516"/>
            <ac:spMk id="15" creationId="{F6E707AB-A5DB-0F84-9ECA-1AF5936F9CE8}"/>
          </ac:spMkLst>
        </pc:spChg>
        <pc:graphicFrameChg chg="add mod modGraphic">
          <ac:chgData name="Franz Muszarsky" userId="baa567244c442e54" providerId="LiveId" clId="{1302CEC5-2DD9-4CE2-A587-B20116F670C1}" dt="2024-01-07T16:52:03.481" v="3925" actId="20577"/>
          <ac:graphicFrameMkLst>
            <pc:docMk/>
            <pc:sldMk cId="3804843701" sldId="516"/>
            <ac:graphicFrameMk id="4" creationId="{831B5BC1-6DBF-5E61-D323-7FCBB80D9575}"/>
          </ac:graphicFrameMkLst>
        </pc:graphicFrameChg>
        <pc:picChg chg="del">
          <ac:chgData name="Franz Muszarsky" userId="baa567244c442e54" providerId="LiveId" clId="{1302CEC5-2DD9-4CE2-A587-B20116F670C1}" dt="2024-01-07T15:01:22.541" v="35" actId="478"/>
          <ac:picMkLst>
            <pc:docMk/>
            <pc:sldMk cId="3804843701" sldId="516"/>
            <ac:picMk id="5" creationId="{00E7433A-6FA7-1CCB-B9CC-53D453432912}"/>
          </ac:picMkLst>
        </pc:picChg>
        <pc:picChg chg="del">
          <ac:chgData name="Franz Muszarsky" userId="baa567244c442e54" providerId="LiveId" clId="{1302CEC5-2DD9-4CE2-A587-B20116F670C1}" dt="2024-01-07T15:01:22.541" v="35" actId="478"/>
          <ac:picMkLst>
            <pc:docMk/>
            <pc:sldMk cId="3804843701" sldId="516"/>
            <ac:picMk id="6" creationId="{80E2F760-717C-E8DB-FCF3-03B144EB2DDE}"/>
          </ac:picMkLst>
        </pc:picChg>
        <pc:picChg chg="del mod">
          <ac:chgData name="Franz Muszarsky" userId="baa567244c442e54" providerId="LiveId" clId="{1302CEC5-2DD9-4CE2-A587-B20116F670C1}" dt="2024-01-07T15:01:22.541" v="35" actId="478"/>
          <ac:picMkLst>
            <pc:docMk/>
            <pc:sldMk cId="3804843701" sldId="516"/>
            <ac:picMk id="7" creationId="{3062EF3F-DE5E-D637-4323-C899703BFB90}"/>
          </ac:picMkLst>
        </pc:picChg>
        <pc:picChg chg="del">
          <ac:chgData name="Franz Muszarsky" userId="baa567244c442e54" providerId="LiveId" clId="{1302CEC5-2DD9-4CE2-A587-B20116F670C1}" dt="2024-01-07T15:01:22.541" v="35" actId="478"/>
          <ac:picMkLst>
            <pc:docMk/>
            <pc:sldMk cId="3804843701" sldId="516"/>
            <ac:picMk id="8" creationId="{EC9AE0AE-DA4F-2ED2-4CF0-31EE5D813F1F}"/>
          </ac:picMkLst>
        </pc:picChg>
        <pc:picChg chg="del">
          <ac:chgData name="Franz Muszarsky" userId="baa567244c442e54" providerId="LiveId" clId="{1302CEC5-2DD9-4CE2-A587-B20116F670C1}" dt="2024-01-07T15:01:22.541" v="35" actId="478"/>
          <ac:picMkLst>
            <pc:docMk/>
            <pc:sldMk cId="3804843701" sldId="516"/>
            <ac:picMk id="9" creationId="{FF4997A2-DE54-1FCD-EDC9-305841494601}"/>
          </ac:picMkLst>
        </pc:picChg>
        <pc:picChg chg="del">
          <ac:chgData name="Franz Muszarsky" userId="baa567244c442e54" providerId="LiveId" clId="{1302CEC5-2DD9-4CE2-A587-B20116F670C1}" dt="2024-01-07T15:01:19.203" v="33" actId="478"/>
          <ac:picMkLst>
            <pc:docMk/>
            <pc:sldMk cId="3804843701" sldId="516"/>
            <ac:picMk id="10" creationId="{1AE37731-6C99-EAC7-42DA-47981C1D1368}"/>
          </ac:picMkLst>
        </pc:picChg>
        <pc:picChg chg="del">
          <ac:chgData name="Franz Muszarsky" userId="baa567244c442e54" providerId="LiveId" clId="{1302CEC5-2DD9-4CE2-A587-B20116F670C1}" dt="2024-01-07T15:01:22.541" v="35" actId="478"/>
          <ac:picMkLst>
            <pc:docMk/>
            <pc:sldMk cId="3804843701" sldId="516"/>
            <ac:picMk id="12" creationId="{1CDCDA4E-8202-6927-AE16-56E00689A2E2}"/>
          </ac:picMkLst>
        </pc:picChg>
      </pc:sldChg>
      <pc:sldChg chg="add del">
        <pc:chgData name="Franz Muszarsky" userId="baa567244c442e54" providerId="LiveId" clId="{1302CEC5-2DD9-4CE2-A587-B20116F670C1}" dt="2024-01-07T15:18:47.419" v="244" actId="47"/>
        <pc:sldMkLst>
          <pc:docMk/>
          <pc:sldMk cId="2970040839" sldId="517"/>
        </pc:sldMkLst>
      </pc:sldChg>
      <pc:sldChg chg="addSp delSp modSp add mod ord modTransition modAnim">
        <pc:chgData name="Franz Muszarsky" userId="baa567244c442e54" providerId="LiveId" clId="{1302CEC5-2DD9-4CE2-A587-B20116F670C1}" dt="2024-01-07T17:56:20.183" v="5898"/>
        <pc:sldMkLst>
          <pc:docMk/>
          <pc:sldMk cId="950514189" sldId="518"/>
        </pc:sldMkLst>
        <pc:spChg chg="add del mod">
          <ac:chgData name="Franz Muszarsky" userId="baa567244c442e54" providerId="LiveId" clId="{1302CEC5-2DD9-4CE2-A587-B20116F670C1}" dt="2024-01-07T15:20:04.048" v="320"/>
          <ac:spMkLst>
            <pc:docMk/>
            <pc:sldMk cId="950514189" sldId="518"/>
            <ac:spMk id="3" creationId="{A796D6CD-ED3C-FBC3-07EE-9DB05CDBDFE1}"/>
          </ac:spMkLst>
        </pc:spChg>
        <pc:spChg chg="del mod">
          <ac:chgData name="Franz Muszarsky" userId="baa567244c442e54" providerId="LiveId" clId="{1302CEC5-2DD9-4CE2-A587-B20116F670C1}" dt="2024-01-07T15:19:44.793" v="318" actId="478"/>
          <ac:spMkLst>
            <pc:docMk/>
            <pc:sldMk cId="950514189" sldId="518"/>
            <ac:spMk id="4" creationId="{BE5D827A-9D21-569D-37C4-E1A7DA3BCC60}"/>
          </ac:spMkLst>
        </pc:spChg>
        <pc:spChg chg="mod">
          <ac:chgData name="Franz Muszarsky" userId="baa567244c442e54" providerId="LiveId" clId="{1302CEC5-2DD9-4CE2-A587-B20116F670C1}" dt="2024-01-07T15:20:02.442" v="319"/>
          <ac:spMkLst>
            <pc:docMk/>
            <pc:sldMk cId="950514189" sldId="518"/>
            <ac:spMk id="10" creationId="{00106318-E6A4-706E-1BB4-55DAC41780C1}"/>
          </ac:spMkLst>
        </pc:spChg>
        <pc:spChg chg="mod">
          <ac:chgData name="Franz Muszarsky" userId="baa567244c442e54" providerId="LiveId" clId="{1302CEC5-2DD9-4CE2-A587-B20116F670C1}" dt="2024-01-07T15:20:02.442" v="319"/>
          <ac:spMkLst>
            <pc:docMk/>
            <pc:sldMk cId="950514189" sldId="518"/>
            <ac:spMk id="11" creationId="{B048517A-7184-1336-DF4F-E28277A070F6}"/>
          </ac:spMkLst>
        </pc:spChg>
        <pc:spChg chg="mod">
          <ac:chgData name="Franz Muszarsky" userId="baa567244c442e54" providerId="LiveId" clId="{1302CEC5-2DD9-4CE2-A587-B20116F670C1}" dt="2024-01-07T15:20:02.442" v="319"/>
          <ac:spMkLst>
            <pc:docMk/>
            <pc:sldMk cId="950514189" sldId="518"/>
            <ac:spMk id="13" creationId="{DC358D66-12F4-4B52-D751-E381FA3B9D41}"/>
          </ac:spMkLst>
        </pc:spChg>
        <pc:spChg chg="mod">
          <ac:chgData name="Franz Muszarsky" userId="baa567244c442e54" providerId="LiveId" clId="{1302CEC5-2DD9-4CE2-A587-B20116F670C1}" dt="2024-01-07T15:20:02.442" v="319"/>
          <ac:spMkLst>
            <pc:docMk/>
            <pc:sldMk cId="950514189" sldId="518"/>
            <ac:spMk id="14" creationId="{D75F453D-1C7A-8135-59E9-BDACD88167F0}"/>
          </ac:spMkLst>
        </pc:spChg>
        <pc:spChg chg="mod">
          <ac:chgData name="Franz Muszarsky" userId="baa567244c442e54" providerId="LiveId" clId="{1302CEC5-2DD9-4CE2-A587-B20116F670C1}" dt="2024-01-07T15:20:02.442" v="319"/>
          <ac:spMkLst>
            <pc:docMk/>
            <pc:sldMk cId="950514189" sldId="518"/>
            <ac:spMk id="15" creationId="{26900E3C-80A4-7294-E5D5-E38E370DA3C6}"/>
          </ac:spMkLst>
        </pc:spChg>
        <pc:spChg chg="add del mod">
          <ac:chgData name="Franz Muszarsky" userId="baa567244c442e54" providerId="LiveId" clId="{1302CEC5-2DD9-4CE2-A587-B20116F670C1}" dt="2024-01-07T15:20:04.048" v="320"/>
          <ac:spMkLst>
            <pc:docMk/>
            <pc:sldMk cId="950514189" sldId="518"/>
            <ac:spMk id="16" creationId="{E49C3EA5-4CC1-9E76-AE76-4811A96331C0}"/>
          </ac:spMkLst>
        </pc:spChg>
        <pc:spChg chg="add mod">
          <ac:chgData name="Franz Muszarsky" userId="baa567244c442e54" providerId="LiveId" clId="{1302CEC5-2DD9-4CE2-A587-B20116F670C1}" dt="2024-01-07T15:20:07.211" v="322"/>
          <ac:spMkLst>
            <pc:docMk/>
            <pc:sldMk cId="950514189" sldId="518"/>
            <ac:spMk id="18" creationId="{98FE64ED-0107-7E22-4BCA-1AF189D406ED}"/>
          </ac:spMkLst>
        </pc:spChg>
        <pc:spChg chg="mod">
          <ac:chgData name="Franz Muszarsky" userId="baa567244c442e54" providerId="LiveId" clId="{1302CEC5-2DD9-4CE2-A587-B20116F670C1}" dt="2024-01-07T15:20:07.211" v="322"/>
          <ac:spMkLst>
            <pc:docMk/>
            <pc:sldMk cId="950514189" sldId="518"/>
            <ac:spMk id="20" creationId="{0F1F44A4-20BE-83DB-A3C1-0F221790207B}"/>
          </ac:spMkLst>
        </pc:spChg>
        <pc:spChg chg="mod">
          <ac:chgData name="Franz Muszarsky" userId="baa567244c442e54" providerId="LiveId" clId="{1302CEC5-2DD9-4CE2-A587-B20116F670C1}" dt="2024-01-07T15:20:07.211" v="322"/>
          <ac:spMkLst>
            <pc:docMk/>
            <pc:sldMk cId="950514189" sldId="518"/>
            <ac:spMk id="21" creationId="{693866EE-964D-8EB5-14FE-2CDCCB57311B}"/>
          </ac:spMkLst>
        </pc:spChg>
        <pc:spChg chg="mod">
          <ac:chgData name="Franz Muszarsky" userId="baa567244c442e54" providerId="LiveId" clId="{1302CEC5-2DD9-4CE2-A587-B20116F670C1}" dt="2024-01-07T15:20:07.211" v="322"/>
          <ac:spMkLst>
            <pc:docMk/>
            <pc:sldMk cId="950514189" sldId="518"/>
            <ac:spMk id="23" creationId="{9BBCF865-AD7C-0794-A1A1-B40C6D9E4567}"/>
          </ac:spMkLst>
        </pc:spChg>
        <pc:spChg chg="mod">
          <ac:chgData name="Franz Muszarsky" userId="baa567244c442e54" providerId="LiveId" clId="{1302CEC5-2DD9-4CE2-A587-B20116F670C1}" dt="2024-01-07T15:56:13.965" v="1721" actId="1076"/>
          <ac:spMkLst>
            <pc:docMk/>
            <pc:sldMk cId="950514189" sldId="518"/>
            <ac:spMk id="27" creationId="{144EF408-4ACF-FE78-6D51-99E30A8CCFB5}"/>
          </ac:spMkLst>
        </pc:spChg>
        <pc:spChg chg="mod">
          <ac:chgData name="Franz Muszarsky" userId="baa567244c442e54" providerId="LiveId" clId="{1302CEC5-2DD9-4CE2-A587-B20116F670C1}" dt="2024-01-07T15:56:13.965" v="1721" actId="1076"/>
          <ac:spMkLst>
            <pc:docMk/>
            <pc:sldMk cId="950514189" sldId="518"/>
            <ac:spMk id="28" creationId="{8DA951FC-0CA6-737D-9C65-F8C3CACC50A0}"/>
          </ac:spMkLst>
        </pc:spChg>
        <pc:spChg chg="mod">
          <ac:chgData name="Franz Muszarsky" userId="baa567244c442e54" providerId="LiveId" clId="{1302CEC5-2DD9-4CE2-A587-B20116F670C1}" dt="2024-01-07T15:56:13.965" v="1721" actId="1076"/>
          <ac:spMkLst>
            <pc:docMk/>
            <pc:sldMk cId="950514189" sldId="518"/>
            <ac:spMk id="29" creationId="{21DE7C20-20F2-F11B-3FE7-0DA4F9F36928}"/>
          </ac:spMkLst>
        </pc:spChg>
        <pc:spChg chg="mod">
          <ac:chgData name="Franz Muszarsky" userId="baa567244c442e54" providerId="LiveId" clId="{1302CEC5-2DD9-4CE2-A587-B20116F670C1}" dt="2024-01-07T15:20:07.211" v="322"/>
          <ac:spMkLst>
            <pc:docMk/>
            <pc:sldMk cId="950514189" sldId="518"/>
            <ac:spMk id="30" creationId="{A4BE77FB-28F4-ADD6-440A-65A0DB6F8E51}"/>
          </ac:spMkLst>
        </pc:spChg>
        <pc:spChg chg="mod">
          <ac:chgData name="Franz Muszarsky" userId="baa567244c442e54" providerId="LiveId" clId="{1302CEC5-2DD9-4CE2-A587-B20116F670C1}" dt="2024-01-07T15:20:07.211" v="322"/>
          <ac:spMkLst>
            <pc:docMk/>
            <pc:sldMk cId="950514189" sldId="518"/>
            <ac:spMk id="31" creationId="{009D7C5C-DFFA-74BC-03FD-03052B0EE4AC}"/>
          </ac:spMkLst>
        </pc:spChg>
        <pc:spChg chg="add mod">
          <ac:chgData name="Franz Muszarsky" userId="baa567244c442e54" providerId="LiveId" clId="{1302CEC5-2DD9-4CE2-A587-B20116F670C1}" dt="2024-01-07T15:20:07.211" v="322"/>
          <ac:spMkLst>
            <pc:docMk/>
            <pc:sldMk cId="950514189" sldId="518"/>
            <ac:spMk id="32" creationId="{970A4700-F107-A541-3352-5B3A16A6EB8B}"/>
          </ac:spMkLst>
        </pc:spChg>
        <pc:spChg chg="add mod">
          <ac:chgData name="Franz Muszarsky" userId="baa567244c442e54" providerId="LiveId" clId="{1302CEC5-2DD9-4CE2-A587-B20116F670C1}" dt="2024-01-07T15:35:20.792" v="462" actId="571"/>
          <ac:spMkLst>
            <pc:docMk/>
            <pc:sldMk cId="950514189" sldId="518"/>
            <ac:spMk id="36" creationId="{0F945882-DCFB-4717-26DF-3802CAD11E95}"/>
          </ac:spMkLst>
        </pc:spChg>
        <pc:spChg chg="add mod">
          <ac:chgData name="Franz Muszarsky" userId="baa567244c442e54" providerId="LiveId" clId="{1302CEC5-2DD9-4CE2-A587-B20116F670C1}" dt="2024-01-07T15:35:20.792" v="462" actId="571"/>
          <ac:spMkLst>
            <pc:docMk/>
            <pc:sldMk cId="950514189" sldId="518"/>
            <ac:spMk id="37" creationId="{EBF76078-A1C5-3BC6-35C0-8736F8893A15}"/>
          </ac:spMkLst>
        </pc:spChg>
        <pc:spChg chg="add mod ord">
          <ac:chgData name="Franz Muszarsky" userId="baa567244c442e54" providerId="LiveId" clId="{1302CEC5-2DD9-4CE2-A587-B20116F670C1}" dt="2024-01-07T15:58:53.672" v="1943" actId="207"/>
          <ac:spMkLst>
            <pc:docMk/>
            <pc:sldMk cId="950514189" sldId="518"/>
            <ac:spMk id="38" creationId="{779E4657-C6FA-2985-8B14-14A361086668}"/>
          </ac:spMkLst>
        </pc:spChg>
        <pc:spChg chg="add mod ord">
          <ac:chgData name="Franz Muszarsky" userId="baa567244c442e54" providerId="LiveId" clId="{1302CEC5-2DD9-4CE2-A587-B20116F670C1}" dt="2024-01-07T15:57:39.523" v="1838" actId="207"/>
          <ac:spMkLst>
            <pc:docMk/>
            <pc:sldMk cId="950514189" sldId="518"/>
            <ac:spMk id="39" creationId="{DDAD8076-D9EE-8B8D-C8EA-9F35F7757DED}"/>
          </ac:spMkLst>
        </pc:spChg>
        <pc:spChg chg="add mod ord">
          <ac:chgData name="Franz Muszarsky" userId="baa567244c442e54" providerId="LiveId" clId="{1302CEC5-2DD9-4CE2-A587-B20116F670C1}" dt="2024-01-07T15:56:03.526" v="1720" actId="1076"/>
          <ac:spMkLst>
            <pc:docMk/>
            <pc:sldMk cId="950514189" sldId="518"/>
            <ac:spMk id="40" creationId="{BC1F170A-C1EA-FFF8-BB02-715F56F7AF57}"/>
          </ac:spMkLst>
        </pc:spChg>
        <pc:spChg chg="add mod">
          <ac:chgData name="Franz Muszarsky" userId="baa567244c442e54" providerId="LiveId" clId="{1302CEC5-2DD9-4CE2-A587-B20116F670C1}" dt="2024-01-07T16:19:58.459" v="2682" actId="20577"/>
          <ac:spMkLst>
            <pc:docMk/>
            <pc:sldMk cId="950514189" sldId="518"/>
            <ac:spMk id="49" creationId="{CD9AECF1-CCEC-828F-C56A-6F2C33C82C55}"/>
          </ac:spMkLst>
        </pc:spChg>
        <pc:spChg chg="add mod">
          <ac:chgData name="Franz Muszarsky" userId="baa567244c442e54" providerId="LiveId" clId="{1302CEC5-2DD9-4CE2-A587-B20116F670C1}" dt="2024-01-07T15:56:03.526" v="1720" actId="1076"/>
          <ac:spMkLst>
            <pc:docMk/>
            <pc:sldMk cId="950514189" sldId="518"/>
            <ac:spMk id="50" creationId="{35820D26-7DB9-6D10-0E15-E1E1BEBC52B3}"/>
          </ac:spMkLst>
        </pc:spChg>
        <pc:spChg chg="add del mod">
          <ac:chgData name="Franz Muszarsky" userId="baa567244c442e54" providerId="LiveId" clId="{1302CEC5-2DD9-4CE2-A587-B20116F670C1}" dt="2024-01-07T15:52:01.050" v="1522" actId="478"/>
          <ac:spMkLst>
            <pc:docMk/>
            <pc:sldMk cId="950514189" sldId="518"/>
            <ac:spMk id="51" creationId="{68B47641-6F83-CD48-7CBF-09A536181779}"/>
          </ac:spMkLst>
        </pc:spChg>
        <pc:spChg chg="add del mod topLvl">
          <ac:chgData name="Franz Muszarsky" userId="baa567244c442e54" providerId="LiveId" clId="{1302CEC5-2DD9-4CE2-A587-B20116F670C1}" dt="2024-01-07T15:52:30.310" v="1540" actId="478"/>
          <ac:spMkLst>
            <pc:docMk/>
            <pc:sldMk cId="950514189" sldId="518"/>
            <ac:spMk id="53" creationId="{066DB106-366C-76F9-A9F1-ACDF97BE78F2}"/>
          </ac:spMkLst>
        </pc:spChg>
        <pc:spChg chg="del mod topLvl">
          <ac:chgData name="Franz Muszarsky" userId="baa567244c442e54" providerId="LiveId" clId="{1302CEC5-2DD9-4CE2-A587-B20116F670C1}" dt="2024-01-07T15:52:24.853" v="1537" actId="478"/>
          <ac:spMkLst>
            <pc:docMk/>
            <pc:sldMk cId="950514189" sldId="518"/>
            <ac:spMk id="54" creationId="{B1673E15-D428-54EE-D706-C4D8C9B7396E}"/>
          </ac:spMkLst>
        </pc:spChg>
        <pc:spChg chg="add del mod topLvl">
          <ac:chgData name="Franz Muszarsky" userId="baa567244c442e54" providerId="LiveId" clId="{1302CEC5-2DD9-4CE2-A587-B20116F670C1}" dt="2024-01-07T15:52:31.781" v="1541" actId="478"/>
          <ac:spMkLst>
            <pc:docMk/>
            <pc:sldMk cId="950514189" sldId="518"/>
            <ac:spMk id="55" creationId="{50AB010E-C931-B7F1-FCE3-87BCAE3E9E4E}"/>
          </ac:spMkLst>
        </pc:spChg>
        <pc:spChg chg="add del mod">
          <ac:chgData name="Franz Muszarsky" userId="baa567244c442e54" providerId="LiveId" clId="{1302CEC5-2DD9-4CE2-A587-B20116F670C1}" dt="2024-01-07T15:52:05.513" v="1525" actId="478"/>
          <ac:spMkLst>
            <pc:docMk/>
            <pc:sldMk cId="950514189" sldId="518"/>
            <ac:spMk id="56" creationId="{A880CDE8-1D6F-17D7-D714-C8FA959DE637}"/>
          </ac:spMkLst>
        </pc:spChg>
        <pc:spChg chg="add del mod">
          <ac:chgData name="Franz Muszarsky" userId="baa567244c442e54" providerId="LiveId" clId="{1302CEC5-2DD9-4CE2-A587-B20116F670C1}" dt="2024-01-07T15:51:59.751" v="1521" actId="478"/>
          <ac:spMkLst>
            <pc:docMk/>
            <pc:sldMk cId="950514189" sldId="518"/>
            <ac:spMk id="57" creationId="{CDA251EE-17AB-07F4-FE50-A67BCCCD6E96}"/>
          </ac:spMkLst>
        </pc:spChg>
        <pc:spChg chg="add del mod">
          <ac:chgData name="Franz Muszarsky" userId="baa567244c442e54" providerId="LiveId" clId="{1302CEC5-2DD9-4CE2-A587-B20116F670C1}" dt="2024-01-07T15:54:19.882" v="1573"/>
          <ac:spMkLst>
            <pc:docMk/>
            <pc:sldMk cId="950514189" sldId="518"/>
            <ac:spMk id="59" creationId="{42C13EB9-C2DD-E322-819B-CE817E44905D}"/>
          </ac:spMkLst>
        </pc:spChg>
        <pc:spChg chg="add del mod">
          <ac:chgData name="Franz Muszarsky" userId="baa567244c442e54" providerId="LiveId" clId="{1302CEC5-2DD9-4CE2-A587-B20116F670C1}" dt="2024-01-07T15:56:03.526" v="1720" actId="1076"/>
          <ac:spMkLst>
            <pc:docMk/>
            <pc:sldMk cId="950514189" sldId="518"/>
            <ac:spMk id="60" creationId="{5BF6908B-AE1C-2A03-E669-E4430981B393}"/>
          </ac:spMkLst>
        </pc:spChg>
        <pc:spChg chg="add del mod ord">
          <ac:chgData name="Franz Muszarsky" userId="baa567244c442e54" providerId="LiveId" clId="{1302CEC5-2DD9-4CE2-A587-B20116F670C1}" dt="2024-01-07T15:54:19.882" v="1573"/>
          <ac:spMkLst>
            <pc:docMk/>
            <pc:sldMk cId="950514189" sldId="518"/>
            <ac:spMk id="61" creationId="{45134D24-5204-E1E2-5BBA-8327E20C09CA}"/>
          </ac:spMkLst>
        </pc:spChg>
        <pc:spChg chg="mod">
          <ac:chgData name="Franz Muszarsky" userId="baa567244c442e54" providerId="LiveId" clId="{1302CEC5-2DD9-4CE2-A587-B20116F670C1}" dt="2024-01-07T15:53:57.322" v="1569"/>
          <ac:spMkLst>
            <pc:docMk/>
            <pc:sldMk cId="950514189" sldId="518"/>
            <ac:spMk id="62" creationId="{F305D1EA-4341-CF39-DAAC-33D49F7A2DE0}"/>
          </ac:spMkLst>
        </pc:spChg>
        <pc:spChg chg="del mod">
          <ac:chgData name="Franz Muszarsky" userId="baa567244c442e54" providerId="LiveId" clId="{1302CEC5-2DD9-4CE2-A587-B20116F670C1}" dt="2024-01-07T15:55:21.220" v="1717" actId="478"/>
          <ac:spMkLst>
            <pc:docMk/>
            <pc:sldMk cId="950514189" sldId="518"/>
            <ac:spMk id="63" creationId="{B73F476A-05B0-F07B-6372-533B2A72FB52}"/>
          </ac:spMkLst>
        </pc:spChg>
        <pc:spChg chg="add mod">
          <ac:chgData name="Franz Muszarsky" userId="baa567244c442e54" providerId="LiveId" clId="{1302CEC5-2DD9-4CE2-A587-B20116F670C1}" dt="2024-01-07T15:59:07.540" v="1944" actId="14100"/>
          <ac:spMkLst>
            <pc:docMk/>
            <pc:sldMk cId="950514189" sldId="518"/>
            <ac:spMk id="64" creationId="{6267BD4E-72A2-3ADE-2A89-BD42D600301C}"/>
          </ac:spMkLst>
        </pc:spChg>
        <pc:spChg chg="add mod">
          <ac:chgData name="Franz Muszarsky" userId="baa567244c442e54" providerId="LiveId" clId="{1302CEC5-2DD9-4CE2-A587-B20116F670C1}" dt="2024-01-07T17:54:40.241" v="5882" actId="20577"/>
          <ac:spMkLst>
            <pc:docMk/>
            <pc:sldMk cId="950514189" sldId="518"/>
            <ac:spMk id="65" creationId="{CFA98E93-7277-B4AD-22DB-6F9A6B47A870}"/>
          </ac:spMkLst>
        </pc:spChg>
        <pc:spChg chg="del mod">
          <ac:chgData name="Franz Muszarsky" userId="baa567244c442e54" providerId="LiveId" clId="{1302CEC5-2DD9-4CE2-A587-B20116F670C1}" dt="2024-01-07T15:42:02.805" v="710" actId="478"/>
          <ac:spMkLst>
            <pc:docMk/>
            <pc:sldMk cId="950514189" sldId="518"/>
            <ac:spMk id="81" creationId="{6211F645-C122-CC8B-3E3A-D995129D8B6D}"/>
          </ac:spMkLst>
        </pc:spChg>
        <pc:spChg chg="mod">
          <ac:chgData name="Franz Muszarsky" userId="baa567244c442e54" providerId="LiveId" clId="{1302CEC5-2DD9-4CE2-A587-B20116F670C1}" dt="2024-01-07T16:00:31.269" v="1997" actId="1076"/>
          <ac:spMkLst>
            <pc:docMk/>
            <pc:sldMk cId="950514189" sldId="518"/>
            <ac:spMk id="101" creationId="{13E66FF1-E53A-9FC8-81E5-48EBF7B54F63}"/>
          </ac:spMkLst>
        </pc:spChg>
        <pc:spChg chg="mod">
          <ac:chgData name="Franz Muszarsky" userId="baa567244c442e54" providerId="LiveId" clId="{1302CEC5-2DD9-4CE2-A587-B20116F670C1}" dt="2024-01-07T15:19:22.381" v="292" actId="20577"/>
          <ac:spMkLst>
            <pc:docMk/>
            <pc:sldMk cId="950514189" sldId="518"/>
            <ac:spMk id="102" creationId="{0402D234-43C3-4A81-A5DE-722E3E0DABF0}"/>
          </ac:spMkLst>
        </pc:spChg>
        <pc:grpChg chg="del">
          <ac:chgData name="Franz Muszarsky" userId="baa567244c442e54" providerId="LiveId" clId="{1302CEC5-2DD9-4CE2-A587-B20116F670C1}" dt="2024-01-07T15:19:41.460" v="316" actId="478"/>
          <ac:grpSpMkLst>
            <pc:docMk/>
            <pc:sldMk cId="950514189" sldId="518"/>
            <ac:grpSpMk id="5" creationId="{86BA8234-4CDB-C145-B8FE-B7E1B9EA8A2C}"/>
          </ac:grpSpMkLst>
        </pc:grpChg>
        <pc:grpChg chg="add del mod">
          <ac:chgData name="Franz Muszarsky" userId="baa567244c442e54" providerId="LiveId" clId="{1302CEC5-2DD9-4CE2-A587-B20116F670C1}" dt="2024-01-07T15:20:04.048" v="320"/>
          <ac:grpSpMkLst>
            <pc:docMk/>
            <pc:sldMk cId="950514189" sldId="518"/>
            <ac:grpSpMk id="9" creationId="{FCF09298-519D-0B2D-99E7-542A30BD90F2}"/>
          </ac:grpSpMkLst>
        </pc:grpChg>
        <pc:grpChg chg="mod">
          <ac:chgData name="Franz Muszarsky" userId="baa567244c442e54" providerId="LiveId" clId="{1302CEC5-2DD9-4CE2-A587-B20116F670C1}" dt="2024-01-07T15:20:02.442" v="319"/>
          <ac:grpSpMkLst>
            <pc:docMk/>
            <pc:sldMk cId="950514189" sldId="518"/>
            <ac:grpSpMk id="12" creationId="{9211C529-AF7F-D318-A5E2-3275609D9987}"/>
          </ac:grpSpMkLst>
        </pc:grpChg>
        <pc:grpChg chg="add mod">
          <ac:chgData name="Franz Muszarsky" userId="baa567244c442e54" providerId="LiveId" clId="{1302CEC5-2DD9-4CE2-A587-B20116F670C1}" dt="2024-01-07T15:20:07.211" v="322"/>
          <ac:grpSpMkLst>
            <pc:docMk/>
            <pc:sldMk cId="950514189" sldId="518"/>
            <ac:grpSpMk id="19" creationId="{5A6CB482-743F-EAD7-41B8-EE152532F94C}"/>
          </ac:grpSpMkLst>
        </pc:grpChg>
        <pc:grpChg chg="mod">
          <ac:chgData name="Franz Muszarsky" userId="baa567244c442e54" providerId="LiveId" clId="{1302CEC5-2DD9-4CE2-A587-B20116F670C1}" dt="2024-01-07T15:20:07.211" v="322"/>
          <ac:grpSpMkLst>
            <pc:docMk/>
            <pc:sldMk cId="950514189" sldId="518"/>
            <ac:grpSpMk id="22" creationId="{1CB637EA-EF7A-373D-C981-C951A6AFC754}"/>
          </ac:grpSpMkLst>
        </pc:grpChg>
        <pc:grpChg chg="del">
          <ac:chgData name="Franz Muszarsky" userId="baa567244c442e54" providerId="LiveId" clId="{1302CEC5-2DD9-4CE2-A587-B20116F670C1}" dt="2024-01-07T15:20:14.663" v="323" actId="478"/>
          <ac:grpSpMkLst>
            <pc:docMk/>
            <pc:sldMk cId="950514189" sldId="518"/>
            <ac:grpSpMk id="26" creationId="{A3DBA363-6E56-5B6E-B950-B4FBA0627617}"/>
          </ac:grpSpMkLst>
        </pc:grpChg>
        <pc:grpChg chg="add del mod">
          <ac:chgData name="Franz Muszarsky" userId="baa567244c442e54" providerId="LiveId" clId="{1302CEC5-2DD9-4CE2-A587-B20116F670C1}" dt="2024-01-07T15:52:07.997" v="1526" actId="165"/>
          <ac:grpSpMkLst>
            <pc:docMk/>
            <pc:sldMk cId="950514189" sldId="518"/>
            <ac:grpSpMk id="52" creationId="{BEE9BD74-4CE9-6C58-FAA1-ECDD859C1797}"/>
          </ac:grpSpMkLst>
        </pc:grpChg>
        <pc:graphicFrameChg chg="add mod modGraphic">
          <ac:chgData name="Franz Muszarsky" userId="baa567244c442e54" providerId="LiveId" clId="{1302CEC5-2DD9-4CE2-A587-B20116F670C1}" dt="2024-01-07T15:57:57.527" v="1840" actId="14734"/>
          <ac:graphicFrameMkLst>
            <pc:docMk/>
            <pc:sldMk cId="950514189" sldId="518"/>
            <ac:graphicFrameMk id="33" creationId="{F0960C92-D203-623C-433A-A44A11A358B2}"/>
          </ac:graphicFrameMkLst>
        </pc:graphicFrameChg>
        <pc:picChg chg="del">
          <ac:chgData name="Franz Muszarsky" userId="baa567244c442e54" providerId="LiveId" clId="{1302CEC5-2DD9-4CE2-A587-B20116F670C1}" dt="2024-01-07T15:20:06.269" v="321" actId="478"/>
          <ac:picMkLst>
            <pc:docMk/>
            <pc:sldMk cId="950514189" sldId="518"/>
            <ac:picMk id="17" creationId="{19A519A0-ECA7-6B28-D647-66F5CB26EAF3}"/>
          </ac:picMkLst>
        </pc:picChg>
        <pc:picChg chg="add mod ord">
          <ac:chgData name="Franz Muszarsky" userId="baa567244c442e54" providerId="LiveId" clId="{1302CEC5-2DD9-4CE2-A587-B20116F670C1}" dt="2024-01-07T15:56:03.526" v="1720" actId="1076"/>
          <ac:picMkLst>
            <pc:docMk/>
            <pc:sldMk cId="950514189" sldId="518"/>
            <ac:picMk id="35" creationId="{0D4B750F-C264-E66F-63B5-6D6003313314}"/>
          </ac:picMkLst>
        </pc:picChg>
        <pc:picChg chg="add mod">
          <ac:chgData name="Franz Muszarsky" userId="baa567244c442e54" providerId="LiveId" clId="{1302CEC5-2DD9-4CE2-A587-B20116F670C1}" dt="2024-01-07T15:56:03.526" v="1720" actId="1076"/>
          <ac:picMkLst>
            <pc:docMk/>
            <pc:sldMk cId="950514189" sldId="518"/>
            <ac:picMk id="41" creationId="{4D30C6DD-ACFB-4149-2127-2E516D9ABF22}"/>
          </ac:picMkLst>
        </pc:picChg>
        <pc:picChg chg="add mod">
          <ac:chgData name="Franz Muszarsky" userId="baa567244c442e54" providerId="LiveId" clId="{1302CEC5-2DD9-4CE2-A587-B20116F670C1}" dt="2024-01-07T15:56:03.526" v="1720" actId="1076"/>
          <ac:picMkLst>
            <pc:docMk/>
            <pc:sldMk cId="950514189" sldId="518"/>
            <ac:picMk id="42" creationId="{523CB1A2-EA05-60BA-B311-F81E012DA06B}"/>
          </ac:picMkLst>
        </pc:picChg>
        <pc:picChg chg="add mod">
          <ac:chgData name="Franz Muszarsky" userId="baa567244c442e54" providerId="LiveId" clId="{1302CEC5-2DD9-4CE2-A587-B20116F670C1}" dt="2024-01-07T15:56:03.526" v="1720" actId="1076"/>
          <ac:picMkLst>
            <pc:docMk/>
            <pc:sldMk cId="950514189" sldId="518"/>
            <ac:picMk id="43" creationId="{8C065F5E-6C79-E403-3572-866CCA128BE6}"/>
          </ac:picMkLst>
        </pc:picChg>
        <pc:picChg chg="add mod">
          <ac:chgData name="Franz Muszarsky" userId="baa567244c442e54" providerId="LiveId" clId="{1302CEC5-2DD9-4CE2-A587-B20116F670C1}" dt="2024-01-07T15:56:03.526" v="1720" actId="1076"/>
          <ac:picMkLst>
            <pc:docMk/>
            <pc:sldMk cId="950514189" sldId="518"/>
            <ac:picMk id="44" creationId="{73361F99-43AA-90B8-B8AC-BD2AD3965E42}"/>
          </ac:picMkLst>
        </pc:picChg>
        <pc:picChg chg="add mod">
          <ac:chgData name="Franz Muszarsky" userId="baa567244c442e54" providerId="LiveId" clId="{1302CEC5-2DD9-4CE2-A587-B20116F670C1}" dt="2024-01-07T15:56:03.526" v="1720" actId="1076"/>
          <ac:picMkLst>
            <pc:docMk/>
            <pc:sldMk cId="950514189" sldId="518"/>
            <ac:picMk id="45" creationId="{5EE5F210-47EE-E0D0-EE7C-D9BB5553277B}"/>
          </ac:picMkLst>
        </pc:picChg>
        <pc:picChg chg="add mod">
          <ac:chgData name="Franz Muszarsky" userId="baa567244c442e54" providerId="LiveId" clId="{1302CEC5-2DD9-4CE2-A587-B20116F670C1}" dt="2024-01-07T15:56:03.526" v="1720" actId="1076"/>
          <ac:picMkLst>
            <pc:docMk/>
            <pc:sldMk cId="950514189" sldId="518"/>
            <ac:picMk id="46" creationId="{662ABEA6-B4EF-E359-3A5B-4A59F367C174}"/>
          </ac:picMkLst>
        </pc:picChg>
        <pc:picChg chg="add del mod">
          <ac:chgData name="Franz Muszarsky" userId="baa567244c442e54" providerId="LiveId" clId="{1302CEC5-2DD9-4CE2-A587-B20116F670C1}" dt="2024-01-07T15:55:22.497" v="1718" actId="478"/>
          <ac:picMkLst>
            <pc:docMk/>
            <pc:sldMk cId="950514189" sldId="518"/>
            <ac:picMk id="58" creationId="{934DA51C-3AD3-7E1C-1588-1C2FF9F8203D}"/>
          </ac:picMkLst>
        </pc:picChg>
        <pc:cxnChg chg="add mod">
          <ac:chgData name="Franz Muszarsky" userId="baa567244c442e54" providerId="LiveId" clId="{1302CEC5-2DD9-4CE2-A587-B20116F670C1}" dt="2024-01-07T15:56:03.526" v="1720" actId="1076"/>
          <ac:cxnSpMkLst>
            <pc:docMk/>
            <pc:sldMk cId="950514189" sldId="518"/>
            <ac:cxnSpMk id="48" creationId="{B7B1C97C-7F41-F325-6921-3BF648F30A26}"/>
          </ac:cxnSpMkLst>
        </pc:cxnChg>
      </pc:sldChg>
      <pc:sldChg chg="addSp delSp modSp add del mod">
        <pc:chgData name="Franz Muszarsky" userId="baa567244c442e54" providerId="LiveId" clId="{1302CEC5-2DD9-4CE2-A587-B20116F670C1}" dt="2024-01-07T16:28:56.272" v="2863" actId="47"/>
        <pc:sldMkLst>
          <pc:docMk/>
          <pc:sldMk cId="57650662" sldId="519"/>
        </pc:sldMkLst>
        <pc:spChg chg="add del mod">
          <ac:chgData name="Franz Muszarsky" userId="baa567244c442e54" providerId="LiveId" clId="{1302CEC5-2DD9-4CE2-A587-B20116F670C1}" dt="2024-01-07T16:20:12.977" v="2703" actId="1076"/>
          <ac:spMkLst>
            <pc:docMk/>
            <pc:sldMk cId="57650662" sldId="519"/>
            <ac:spMk id="49" creationId="{CD9AECF1-CCEC-828F-C56A-6F2C33C82C55}"/>
          </ac:spMkLst>
        </pc:spChg>
        <pc:spChg chg="mod">
          <ac:chgData name="Franz Muszarsky" userId="baa567244c442e54" providerId="LiveId" clId="{1302CEC5-2DD9-4CE2-A587-B20116F670C1}" dt="2024-01-07T16:19:47.781" v="2670" actId="1076"/>
          <ac:spMkLst>
            <pc:docMk/>
            <pc:sldMk cId="57650662" sldId="519"/>
            <ac:spMk id="50" creationId="{35820D26-7DB9-6D10-0E15-E1E1BEBC52B3}"/>
          </ac:spMkLst>
        </pc:spChg>
        <pc:spChg chg="mod">
          <ac:chgData name="Franz Muszarsky" userId="baa567244c442e54" providerId="LiveId" clId="{1302CEC5-2DD9-4CE2-A587-B20116F670C1}" dt="2024-01-07T16:03:49.419" v="2049" actId="20577"/>
          <ac:spMkLst>
            <pc:docMk/>
            <pc:sldMk cId="57650662" sldId="519"/>
            <ac:spMk id="102" creationId="{0402D234-43C3-4A81-A5DE-722E3E0DABF0}"/>
          </ac:spMkLst>
        </pc:spChg>
      </pc:sldChg>
      <pc:sldChg chg="delSp modSp add mod">
        <pc:chgData name="Franz Muszarsky" userId="baa567244c442e54" providerId="LiveId" clId="{1302CEC5-2DD9-4CE2-A587-B20116F670C1}" dt="2024-01-07T16:31:37.848" v="2976" actId="20577"/>
        <pc:sldMkLst>
          <pc:docMk/>
          <pc:sldMk cId="3782156351" sldId="520"/>
        </pc:sldMkLst>
        <pc:spChg chg="del">
          <ac:chgData name="Franz Muszarsky" userId="baa567244c442e54" providerId="LiveId" clId="{1302CEC5-2DD9-4CE2-A587-B20116F670C1}" dt="2024-01-07T16:24:15.988" v="2756" actId="478"/>
          <ac:spMkLst>
            <pc:docMk/>
            <pc:sldMk cId="3782156351" sldId="520"/>
            <ac:spMk id="38" creationId="{779E4657-C6FA-2985-8B14-14A361086668}"/>
          </ac:spMkLst>
        </pc:spChg>
        <pc:spChg chg="del">
          <ac:chgData name="Franz Muszarsky" userId="baa567244c442e54" providerId="LiveId" clId="{1302CEC5-2DD9-4CE2-A587-B20116F670C1}" dt="2024-01-07T16:24:15.988" v="2756" actId="478"/>
          <ac:spMkLst>
            <pc:docMk/>
            <pc:sldMk cId="3782156351" sldId="520"/>
            <ac:spMk id="39" creationId="{DDAD8076-D9EE-8B8D-C8EA-9F35F7757DED}"/>
          </ac:spMkLst>
        </pc:spChg>
        <pc:spChg chg="del">
          <ac:chgData name="Franz Muszarsky" userId="baa567244c442e54" providerId="LiveId" clId="{1302CEC5-2DD9-4CE2-A587-B20116F670C1}" dt="2024-01-07T16:24:15.988" v="2756" actId="478"/>
          <ac:spMkLst>
            <pc:docMk/>
            <pc:sldMk cId="3782156351" sldId="520"/>
            <ac:spMk id="40" creationId="{BC1F170A-C1EA-FFF8-BB02-715F56F7AF57}"/>
          </ac:spMkLst>
        </pc:spChg>
        <pc:spChg chg="del">
          <ac:chgData name="Franz Muszarsky" userId="baa567244c442e54" providerId="LiveId" clId="{1302CEC5-2DD9-4CE2-A587-B20116F670C1}" dt="2024-01-07T16:26:39.526" v="2860" actId="478"/>
          <ac:spMkLst>
            <pc:docMk/>
            <pc:sldMk cId="3782156351" sldId="520"/>
            <ac:spMk id="64" creationId="{6267BD4E-72A2-3ADE-2A89-BD42D600301C}"/>
          </ac:spMkLst>
        </pc:spChg>
        <pc:spChg chg="del mod">
          <ac:chgData name="Franz Muszarsky" userId="baa567244c442e54" providerId="LiveId" clId="{1302CEC5-2DD9-4CE2-A587-B20116F670C1}" dt="2024-01-07T16:26:39.528" v="2862"/>
          <ac:spMkLst>
            <pc:docMk/>
            <pc:sldMk cId="3782156351" sldId="520"/>
            <ac:spMk id="65" creationId="{CFA98E93-7277-B4AD-22DB-6F9A6B47A870}"/>
          </ac:spMkLst>
        </pc:spChg>
        <pc:spChg chg="mod">
          <ac:chgData name="Franz Muszarsky" userId="baa567244c442e54" providerId="LiveId" clId="{1302CEC5-2DD9-4CE2-A587-B20116F670C1}" dt="2024-01-07T16:31:37.848" v="2976" actId="20577"/>
          <ac:spMkLst>
            <pc:docMk/>
            <pc:sldMk cId="3782156351" sldId="520"/>
            <ac:spMk id="101" creationId="{13E66FF1-E53A-9FC8-81E5-48EBF7B54F63}"/>
          </ac:spMkLst>
        </pc:spChg>
        <pc:spChg chg="mod">
          <ac:chgData name="Franz Muszarsky" userId="baa567244c442e54" providerId="LiveId" clId="{1302CEC5-2DD9-4CE2-A587-B20116F670C1}" dt="2024-01-07T16:25:49.121" v="2834" actId="20577"/>
          <ac:spMkLst>
            <pc:docMk/>
            <pc:sldMk cId="3782156351" sldId="520"/>
            <ac:spMk id="102" creationId="{0402D234-43C3-4A81-A5DE-722E3E0DABF0}"/>
          </ac:spMkLst>
        </pc:spChg>
        <pc:graphicFrameChg chg="modGraphic">
          <ac:chgData name="Franz Muszarsky" userId="baa567244c442e54" providerId="LiveId" clId="{1302CEC5-2DD9-4CE2-A587-B20116F670C1}" dt="2024-01-07T16:25:26.110" v="2764" actId="207"/>
          <ac:graphicFrameMkLst>
            <pc:docMk/>
            <pc:sldMk cId="3782156351" sldId="520"/>
            <ac:graphicFrameMk id="33" creationId="{F0960C92-D203-623C-433A-A44A11A358B2}"/>
          </ac:graphicFrameMkLst>
        </pc:graphicFrameChg>
      </pc:sldChg>
      <pc:sldChg chg="delSp modSp add del mod">
        <pc:chgData name="Franz Muszarsky" userId="baa567244c442e54" providerId="LiveId" clId="{1302CEC5-2DD9-4CE2-A587-B20116F670C1}" dt="2024-01-07T16:54:38.674" v="3968" actId="47"/>
        <pc:sldMkLst>
          <pc:docMk/>
          <pc:sldMk cId="1330383474" sldId="521"/>
        </pc:sldMkLst>
        <pc:spChg chg="del">
          <ac:chgData name="Franz Muszarsky" userId="baa567244c442e54" providerId="LiveId" clId="{1302CEC5-2DD9-4CE2-A587-B20116F670C1}" dt="2024-01-07T16:33:10.840" v="2978" actId="478"/>
          <ac:spMkLst>
            <pc:docMk/>
            <pc:sldMk cId="1330383474" sldId="521"/>
            <ac:spMk id="27" creationId="{144EF408-4ACF-FE78-6D51-99E30A8CCFB5}"/>
          </ac:spMkLst>
        </pc:spChg>
        <pc:spChg chg="del">
          <ac:chgData name="Franz Muszarsky" userId="baa567244c442e54" providerId="LiveId" clId="{1302CEC5-2DD9-4CE2-A587-B20116F670C1}" dt="2024-01-07T16:33:10.840" v="2978" actId="478"/>
          <ac:spMkLst>
            <pc:docMk/>
            <pc:sldMk cId="1330383474" sldId="521"/>
            <ac:spMk id="28" creationId="{8DA951FC-0CA6-737D-9C65-F8C3CACC50A0}"/>
          </ac:spMkLst>
        </pc:spChg>
        <pc:spChg chg="del">
          <ac:chgData name="Franz Muszarsky" userId="baa567244c442e54" providerId="LiveId" clId="{1302CEC5-2DD9-4CE2-A587-B20116F670C1}" dt="2024-01-07T16:33:10.840" v="2978" actId="478"/>
          <ac:spMkLst>
            <pc:docMk/>
            <pc:sldMk cId="1330383474" sldId="521"/>
            <ac:spMk id="29" creationId="{21DE7C20-20F2-F11B-3FE7-0DA4F9F36928}"/>
          </ac:spMkLst>
        </pc:spChg>
        <pc:spChg chg="del">
          <ac:chgData name="Franz Muszarsky" userId="baa567244c442e54" providerId="LiveId" clId="{1302CEC5-2DD9-4CE2-A587-B20116F670C1}" dt="2024-01-07T16:33:10.840" v="2978" actId="478"/>
          <ac:spMkLst>
            <pc:docMk/>
            <pc:sldMk cId="1330383474" sldId="521"/>
            <ac:spMk id="49" creationId="{CD9AECF1-CCEC-828F-C56A-6F2C33C82C55}"/>
          </ac:spMkLst>
        </pc:spChg>
        <pc:spChg chg="del">
          <ac:chgData name="Franz Muszarsky" userId="baa567244c442e54" providerId="LiveId" clId="{1302CEC5-2DD9-4CE2-A587-B20116F670C1}" dt="2024-01-07T16:33:10.840" v="2978" actId="478"/>
          <ac:spMkLst>
            <pc:docMk/>
            <pc:sldMk cId="1330383474" sldId="521"/>
            <ac:spMk id="50" creationId="{35820D26-7DB9-6D10-0E15-E1E1BEBC52B3}"/>
          </ac:spMkLst>
        </pc:spChg>
        <pc:spChg chg="mod">
          <ac:chgData name="Franz Muszarsky" userId="baa567244c442e54" providerId="LiveId" clId="{1302CEC5-2DD9-4CE2-A587-B20116F670C1}" dt="2024-01-07T16:29:53.143" v="2919" actId="20577"/>
          <ac:spMkLst>
            <pc:docMk/>
            <pc:sldMk cId="1330383474" sldId="521"/>
            <ac:spMk id="101" creationId="{13E66FF1-E53A-9FC8-81E5-48EBF7B54F63}"/>
          </ac:spMkLst>
        </pc:spChg>
        <pc:spChg chg="mod">
          <ac:chgData name="Franz Muszarsky" userId="baa567244c442e54" providerId="LiveId" clId="{1302CEC5-2DD9-4CE2-A587-B20116F670C1}" dt="2024-01-07T16:29:47.623" v="2898" actId="20577"/>
          <ac:spMkLst>
            <pc:docMk/>
            <pc:sldMk cId="1330383474" sldId="521"/>
            <ac:spMk id="102" creationId="{0402D234-43C3-4A81-A5DE-722E3E0DABF0}"/>
          </ac:spMkLst>
        </pc:spChg>
        <pc:graphicFrameChg chg="del">
          <ac:chgData name="Franz Muszarsky" userId="baa567244c442e54" providerId="LiveId" clId="{1302CEC5-2DD9-4CE2-A587-B20116F670C1}" dt="2024-01-07T16:33:03.095" v="2977" actId="478"/>
          <ac:graphicFrameMkLst>
            <pc:docMk/>
            <pc:sldMk cId="1330383474" sldId="521"/>
            <ac:graphicFrameMk id="33" creationId="{F0960C92-D203-623C-433A-A44A11A358B2}"/>
          </ac:graphicFrameMkLst>
        </pc:graphicFrameChg>
        <pc:picChg chg="del">
          <ac:chgData name="Franz Muszarsky" userId="baa567244c442e54" providerId="LiveId" clId="{1302CEC5-2DD9-4CE2-A587-B20116F670C1}" dt="2024-01-07T16:33:10.840" v="2978" actId="478"/>
          <ac:picMkLst>
            <pc:docMk/>
            <pc:sldMk cId="1330383474" sldId="521"/>
            <ac:picMk id="35" creationId="{0D4B750F-C264-E66F-63B5-6D6003313314}"/>
          </ac:picMkLst>
        </pc:picChg>
        <pc:picChg chg="del">
          <ac:chgData name="Franz Muszarsky" userId="baa567244c442e54" providerId="LiveId" clId="{1302CEC5-2DD9-4CE2-A587-B20116F670C1}" dt="2024-01-07T16:33:10.840" v="2978" actId="478"/>
          <ac:picMkLst>
            <pc:docMk/>
            <pc:sldMk cId="1330383474" sldId="521"/>
            <ac:picMk id="41" creationId="{4D30C6DD-ACFB-4149-2127-2E516D9ABF22}"/>
          </ac:picMkLst>
        </pc:picChg>
        <pc:picChg chg="del">
          <ac:chgData name="Franz Muszarsky" userId="baa567244c442e54" providerId="LiveId" clId="{1302CEC5-2DD9-4CE2-A587-B20116F670C1}" dt="2024-01-07T16:33:10.840" v="2978" actId="478"/>
          <ac:picMkLst>
            <pc:docMk/>
            <pc:sldMk cId="1330383474" sldId="521"/>
            <ac:picMk id="42" creationId="{523CB1A2-EA05-60BA-B311-F81E012DA06B}"/>
          </ac:picMkLst>
        </pc:picChg>
        <pc:picChg chg="del">
          <ac:chgData name="Franz Muszarsky" userId="baa567244c442e54" providerId="LiveId" clId="{1302CEC5-2DD9-4CE2-A587-B20116F670C1}" dt="2024-01-07T16:33:10.840" v="2978" actId="478"/>
          <ac:picMkLst>
            <pc:docMk/>
            <pc:sldMk cId="1330383474" sldId="521"/>
            <ac:picMk id="43" creationId="{8C065F5E-6C79-E403-3572-866CCA128BE6}"/>
          </ac:picMkLst>
        </pc:picChg>
        <pc:picChg chg="del">
          <ac:chgData name="Franz Muszarsky" userId="baa567244c442e54" providerId="LiveId" clId="{1302CEC5-2DD9-4CE2-A587-B20116F670C1}" dt="2024-01-07T16:33:10.840" v="2978" actId="478"/>
          <ac:picMkLst>
            <pc:docMk/>
            <pc:sldMk cId="1330383474" sldId="521"/>
            <ac:picMk id="44" creationId="{73361F99-43AA-90B8-B8AC-BD2AD3965E42}"/>
          </ac:picMkLst>
        </pc:picChg>
        <pc:picChg chg="del">
          <ac:chgData name="Franz Muszarsky" userId="baa567244c442e54" providerId="LiveId" clId="{1302CEC5-2DD9-4CE2-A587-B20116F670C1}" dt="2024-01-07T16:33:10.840" v="2978" actId="478"/>
          <ac:picMkLst>
            <pc:docMk/>
            <pc:sldMk cId="1330383474" sldId="521"/>
            <ac:picMk id="45" creationId="{5EE5F210-47EE-E0D0-EE7C-D9BB5553277B}"/>
          </ac:picMkLst>
        </pc:picChg>
        <pc:picChg chg="del">
          <ac:chgData name="Franz Muszarsky" userId="baa567244c442e54" providerId="LiveId" clId="{1302CEC5-2DD9-4CE2-A587-B20116F670C1}" dt="2024-01-07T16:33:10.840" v="2978" actId="478"/>
          <ac:picMkLst>
            <pc:docMk/>
            <pc:sldMk cId="1330383474" sldId="521"/>
            <ac:picMk id="46" creationId="{662ABEA6-B4EF-E359-3A5B-4A59F367C174}"/>
          </ac:picMkLst>
        </pc:picChg>
        <pc:cxnChg chg="del">
          <ac:chgData name="Franz Muszarsky" userId="baa567244c442e54" providerId="LiveId" clId="{1302CEC5-2DD9-4CE2-A587-B20116F670C1}" dt="2024-01-07T16:33:10.840" v="2978" actId="478"/>
          <ac:cxnSpMkLst>
            <pc:docMk/>
            <pc:sldMk cId="1330383474" sldId="521"/>
            <ac:cxnSpMk id="48" creationId="{B7B1C97C-7F41-F325-6921-3BF648F30A26}"/>
          </ac:cxnSpMkLst>
        </pc:cxnChg>
      </pc:sldChg>
      <pc:sldChg chg="addSp delSp modSp add del mod ord delAnim">
        <pc:chgData name="Franz Muszarsky" userId="baa567244c442e54" providerId="LiveId" clId="{1302CEC5-2DD9-4CE2-A587-B20116F670C1}" dt="2024-01-07T16:54:27.055" v="3966" actId="47"/>
        <pc:sldMkLst>
          <pc:docMk/>
          <pc:sldMk cId="4002317385" sldId="522"/>
        </pc:sldMkLst>
        <pc:spChg chg="mod">
          <ac:chgData name="Franz Muszarsky" userId="baa567244c442e54" providerId="LiveId" clId="{1302CEC5-2DD9-4CE2-A587-B20116F670C1}" dt="2024-01-07T16:37:53.426" v="3073" actId="5793"/>
          <ac:spMkLst>
            <pc:docMk/>
            <pc:sldMk cId="4002317385" sldId="522"/>
            <ac:spMk id="2" creationId="{A31F344D-1760-8D98-4EEC-5A099F73EB54}"/>
          </ac:spMkLst>
        </pc:spChg>
        <pc:spChg chg="mod">
          <ac:chgData name="Franz Muszarsky" userId="baa567244c442e54" providerId="LiveId" clId="{1302CEC5-2DD9-4CE2-A587-B20116F670C1}" dt="2024-01-07T16:37:51.691" v="3072" actId="20577"/>
          <ac:spMkLst>
            <pc:docMk/>
            <pc:sldMk cId="4002317385" sldId="522"/>
            <ac:spMk id="3" creationId="{043BE14F-CDF5-7A5E-86AD-B1C907529C7D}"/>
          </ac:spMkLst>
        </pc:spChg>
        <pc:spChg chg="add mod">
          <ac:chgData name="Franz Muszarsky" userId="baa567244c442e54" providerId="LiveId" clId="{1302CEC5-2DD9-4CE2-A587-B20116F670C1}" dt="2024-01-07T16:34:10.212" v="2986"/>
          <ac:spMkLst>
            <pc:docMk/>
            <pc:sldMk cId="4002317385" sldId="522"/>
            <ac:spMk id="4" creationId="{1B622931-EE25-ED46-39F5-4356096B7215}"/>
          </ac:spMkLst>
        </pc:spChg>
        <pc:spChg chg="del">
          <ac:chgData name="Franz Muszarsky" userId="baa567244c442e54" providerId="LiveId" clId="{1302CEC5-2DD9-4CE2-A587-B20116F670C1}" dt="2024-01-07T16:33:45.022" v="2982" actId="478"/>
          <ac:spMkLst>
            <pc:docMk/>
            <pc:sldMk cId="4002317385" sldId="522"/>
            <ac:spMk id="11" creationId="{BF82085A-9893-757C-BCCE-87916DB9877B}"/>
          </ac:spMkLst>
        </pc:spChg>
        <pc:spChg chg="del">
          <ac:chgData name="Franz Muszarsky" userId="baa567244c442e54" providerId="LiveId" clId="{1302CEC5-2DD9-4CE2-A587-B20116F670C1}" dt="2024-01-07T16:33:45.022" v="2982" actId="478"/>
          <ac:spMkLst>
            <pc:docMk/>
            <pc:sldMk cId="4002317385" sldId="522"/>
            <ac:spMk id="14" creationId="{26454D39-C1C1-6250-6280-E5A0170E6F9A}"/>
          </ac:spMkLst>
        </pc:spChg>
        <pc:spChg chg="mod">
          <ac:chgData name="Franz Muszarsky" userId="baa567244c442e54" providerId="LiveId" clId="{1302CEC5-2DD9-4CE2-A587-B20116F670C1}" dt="2024-01-07T16:34:10.212" v="2986"/>
          <ac:spMkLst>
            <pc:docMk/>
            <pc:sldMk cId="4002317385" sldId="522"/>
            <ac:spMk id="15" creationId="{6E2B21A5-9ADD-9038-DD2F-E6ECFFEFE85C}"/>
          </ac:spMkLst>
        </pc:spChg>
        <pc:spChg chg="mod">
          <ac:chgData name="Franz Muszarsky" userId="baa567244c442e54" providerId="LiveId" clId="{1302CEC5-2DD9-4CE2-A587-B20116F670C1}" dt="2024-01-07T16:34:10.212" v="2986"/>
          <ac:spMkLst>
            <pc:docMk/>
            <pc:sldMk cId="4002317385" sldId="522"/>
            <ac:spMk id="16" creationId="{6F76A97E-5682-236A-C99C-04D5049A6C47}"/>
          </ac:spMkLst>
        </pc:spChg>
        <pc:spChg chg="del mod">
          <ac:chgData name="Franz Muszarsky" userId="baa567244c442e54" providerId="LiveId" clId="{1302CEC5-2DD9-4CE2-A587-B20116F670C1}" dt="2024-01-07T16:33:56.505" v="2985" actId="478"/>
          <ac:spMkLst>
            <pc:docMk/>
            <pc:sldMk cId="4002317385" sldId="522"/>
            <ac:spMk id="23" creationId="{C62BF07F-2987-F7D1-E067-31510F56CD4C}"/>
          </ac:spMkLst>
        </pc:spChg>
        <pc:spChg chg="mod">
          <ac:chgData name="Franz Muszarsky" userId="baa567244c442e54" providerId="LiveId" clId="{1302CEC5-2DD9-4CE2-A587-B20116F670C1}" dt="2024-01-07T16:34:10.212" v="2986"/>
          <ac:spMkLst>
            <pc:docMk/>
            <pc:sldMk cId="4002317385" sldId="522"/>
            <ac:spMk id="24" creationId="{51A844E0-38C0-5340-83C5-A9088757A3C8}"/>
          </ac:spMkLst>
        </pc:spChg>
        <pc:spChg chg="mod">
          <ac:chgData name="Franz Muszarsky" userId="baa567244c442e54" providerId="LiveId" clId="{1302CEC5-2DD9-4CE2-A587-B20116F670C1}" dt="2024-01-07T16:34:10.212" v="2986"/>
          <ac:spMkLst>
            <pc:docMk/>
            <pc:sldMk cId="4002317385" sldId="522"/>
            <ac:spMk id="25" creationId="{F70101B8-02AE-89C8-CF9D-40F19249AB4E}"/>
          </ac:spMkLst>
        </pc:spChg>
        <pc:spChg chg="mod">
          <ac:chgData name="Franz Muszarsky" userId="baa567244c442e54" providerId="LiveId" clId="{1302CEC5-2DD9-4CE2-A587-B20116F670C1}" dt="2024-01-07T16:34:10.212" v="2986"/>
          <ac:spMkLst>
            <pc:docMk/>
            <pc:sldMk cId="4002317385" sldId="522"/>
            <ac:spMk id="26" creationId="{F83F3035-EF3B-D672-8567-80D4171E1B40}"/>
          </ac:spMkLst>
        </pc:spChg>
        <pc:spChg chg="add mod">
          <ac:chgData name="Franz Muszarsky" userId="baa567244c442e54" providerId="LiveId" clId="{1302CEC5-2DD9-4CE2-A587-B20116F670C1}" dt="2024-01-07T16:34:10.212" v="2986"/>
          <ac:spMkLst>
            <pc:docMk/>
            <pc:sldMk cId="4002317385" sldId="522"/>
            <ac:spMk id="27" creationId="{F0DB2FD9-6DD9-5B58-14FD-A0EC684CC930}"/>
          </ac:spMkLst>
        </pc:spChg>
        <pc:grpChg chg="add mod">
          <ac:chgData name="Franz Muszarsky" userId="baa567244c442e54" providerId="LiveId" clId="{1302CEC5-2DD9-4CE2-A587-B20116F670C1}" dt="2024-01-07T16:34:10.212" v="2986"/>
          <ac:grpSpMkLst>
            <pc:docMk/>
            <pc:sldMk cId="4002317385" sldId="522"/>
            <ac:grpSpMk id="13" creationId="{12D66C61-DFA7-B4CF-096B-5F5633B8A65C}"/>
          </ac:grpSpMkLst>
        </pc:grpChg>
        <pc:grpChg chg="mod">
          <ac:chgData name="Franz Muszarsky" userId="baa567244c442e54" providerId="LiveId" clId="{1302CEC5-2DD9-4CE2-A587-B20116F670C1}" dt="2024-01-07T16:34:10.212" v="2986"/>
          <ac:grpSpMkLst>
            <pc:docMk/>
            <pc:sldMk cId="4002317385" sldId="522"/>
            <ac:grpSpMk id="17" creationId="{1466C258-D662-87B1-7BDA-E0962E12C5DB}"/>
          </ac:grpSpMkLst>
        </pc:grpChg>
        <pc:grpChg chg="del">
          <ac:chgData name="Franz Muszarsky" userId="baa567244c442e54" providerId="LiveId" clId="{1302CEC5-2DD9-4CE2-A587-B20116F670C1}" dt="2024-01-07T16:33:53.190" v="2983" actId="478"/>
          <ac:grpSpMkLst>
            <pc:docMk/>
            <pc:sldMk cId="4002317385" sldId="522"/>
            <ac:grpSpMk id="18" creationId="{3C2E2F28-5F71-1B74-B4C7-8CFC08D3DCA6}"/>
          </ac:grpSpMkLst>
        </pc:grpChg>
        <pc:picChg chg="del">
          <ac:chgData name="Franz Muszarsky" userId="baa567244c442e54" providerId="LiveId" clId="{1302CEC5-2DD9-4CE2-A587-B20116F670C1}" dt="2024-01-07T16:33:45.022" v="2982" actId="478"/>
          <ac:picMkLst>
            <pc:docMk/>
            <pc:sldMk cId="4002317385" sldId="522"/>
            <ac:picMk id="5" creationId="{00E7433A-6FA7-1CCB-B9CC-53D453432912}"/>
          </ac:picMkLst>
        </pc:picChg>
        <pc:picChg chg="del">
          <ac:chgData name="Franz Muszarsky" userId="baa567244c442e54" providerId="LiveId" clId="{1302CEC5-2DD9-4CE2-A587-B20116F670C1}" dt="2024-01-07T16:33:45.022" v="2982" actId="478"/>
          <ac:picMkLst>
            <pc:docMk/>
            <pc:sldMk cId="4002317385" sldId="522"/>
            <ac:picMk id="6" creationId="{80E2F760-717C-E8DB-FCF3-03B144EB2DDE}"/>
          </ac:picMkLst>
        </pc:picChg>
        <pc:picChg chg="del">
          <ac:chgData name="Franz Muszarsky" userId="baa567244c442e54" providerId="LiveId" clId="{1302CEC5-2DD9-4CE2-A587-B20116F670C1}" dt="2024-01-07T16:33:45.022" v="2982" actId="478"/>
          <ac:picMkLst>
            <pc:docMk/>
            <pc:sldMk cId="4002317385" sldId="522"/>
            <ac:picMk id="7" creationId="{3062EF3F-DE5E-D637-4323-C899703BFB90}"/>
          </ac:picMkLst>
        </pc:picChg>
        <pc:picChg chg="del">
          <ac:chgData name="Franz Muszarsky" userId="baa567244c442e54" providerId="LiveId" clId="{1302CEC5-2DD9-4CE2-A587-B20116F670C1}" dt="2024-01-07T16:33:45.022" v="2982" actId="478"/>
          <ac:picMkLst>
            <pc:docMk/>
            <pc:sldMk cId="4002317385" sldId="522"/>
            <ac:picMk id="8" creationId="{EC9AE0AE-DA4F-2ED2-4CF0-31EE5D813F1F}"/>
          </ac:picMkLst>
        </pc:picChg>
        <pc:picChg chg="del">
          <ac:chgData name="Franz Muszarsky" userId="baa567244c442e54" providerId="LiveId" clId="{1302CEC5-2DD9-4CE2-A587-B20116F670C1}" dt="2024-01-07T16:33:45.022" v="2982" actId="478"/>
          <ac:picMkLst>
            <pc:docMk/>
            <pc:sldMk cId="4002317385" sldId="522"/>
            <ac:picMk id="9" creationId="{FF4997A2-DE54-1FCD-EDC9-305841494601}"/>
          </ac:picMkLst>
        </pc:picChg>
        <pc:picChg chg="del">
          <ac:chgData name="Franz Muszarsky" userId="baa567244c442e54" providerId="LiveId" clId="{1302CEC5-2DD9-4CE2-A587-B20116F670C1}" dt="2024-01-07T16:33:45.022" v="2982" actId="478"/>
          <ac:picMkLst>
            <pc:docMk/>
            <pc:sldMk cId="4002317385" sldId="522"/>
            <ac:picMk id="10" creationId="{1AE37731-6C99-EAC7-42DA-47981C1D1368}"/>
          </ac:picMkLst>
        </pc:picChg>
        <pc:picChg chg="del">
          <ac:chgData name="Franz Muszarsky" userId="baa567244c442e54" providerId="LiveId" clId="{1302CEC5-2DD9-4CE2-A587-B20116F670C1}" dt="2024-01-07T16:33:45.022" v="2982" actId="478"/>
          <ac:picMkLst>
            <pc:docMk/>
            <pc:sldMk cId="4002317385" sldId="522"/>
            <ac:picMk id="12" creationId="{1CDCDA4E-8202-6927-AE16-56E00689A2E2}"/>
          </ac:picMkLst>
        </pc:picChg>
        <pc:picChg chg="del">
          <ac:chgData name="Franz Muszarsky" userId="baa567244c442e54" providerId="LiveId" clId="{1302CEC5-2DD9-4CE2-A587-B20116F670C1}" dt="2024-01-07T16:33:53.190" v="2983" actId="478"/>
          <ac:picMkLst>
            <pc:docMk/>
            <pc:sldMk cId="4002317385" sldId="522"/>
            <ac:picMk id="22" creationId="{3634F828-34F2-4CF7-3468-9BC7644C543C}"/>
          </ac:picMkLst>
        </pc:picChg>
      </pc:sldChg>
      <pc:sldChg chg="addSp delSp modSp add mod ord modAnim">
        <pc:chgData name="Franz Muszarsky" userId="baa567244c442e54" providerId="LiveId" clId="{1302CEC5-2DD9-4CE2-A587-B20116F670C1}" dt="2024-01-07T17:55:30.432" v="5897" actId="20577"/>
        <pc:sldMkLst>
          <pc:docMk/>
          <pc:sldMk cId="1150965661" sldId="523"/>
        </pc:sldMkLst>
        <pc:spChg chg="add mod">
          <ac:chgData name="Franz Muszarsky" userId="baa567244c442e54" providerId="LiveId" clId="{1302CEC5-2DD9-4CE2-A587-B20116F670C1}" dt="2024-01-07T17:34:28.213" v="5159" actId="20577"/>
          <ac:spMkLst>
            <pc:docMk/>
            <pc:sldMk cId="1150965661" sldId="523"/>
            <ac:spMk id="2" creationId="{F3A5B303-FBE2-0B6C-F0B2-4C51190E583B}"/>
          </ac:spMkLst>
        </pc:spChg>
        <pc:spChg chg="mod">
          <ac:chgData name="Franz Muszarsky" userId="baa567244c442e54" providerId="LiveId" clId="{1302CEC5-2DD9-4CE2-A587-B20116F670C1}" dt="2024-01-07T17:55:30.432" v="5897" actId="20577"/>
          <ac:spMkLst>
            <pc:docMk/>
            <pc:sldMk cId="1150965661" sldId="523"/>
            <ac:spMk id="3" creationId="{043BE14F-CDF5-7A5E-86AD-B1C907529C7D}"/>
          </ac:spMkLst>
        </pc:spChg>
        <pc:spChg chg="add mod">
          <ac:chgData name="Franz Muszarsky" userId="baa567244c442e54" providerId="LiveId" clId="{1302CEC5-2DD9-4CE2-A587-B20116F670C1}" dt="2024-01-07T16:45:25.448" v="3374"/>
          <ac:spMkLst>
            <pc:docMk/>
            <pc:sldMk cId="1150965661" sldId="523"/>
            <ac:spMk id="5" creationId="{3443A615-5072-2B79-15FF-8A479079869C}"/>
          </ac:spMkLst>
        </pc:spChg>
        <pc:spChg chg="mod">
          <ac:chgData name="Franz Muszarsky" userId="baa567244c442e54" providerId="LiveId" clId="{1302CEC5-2DD9-4CE2-A587-B20116F670C1}" dt="2024-01-07T16:45:25.448" v="3374"/>
          <ac:spMkLst>
            <pc:docMk/>
            <pc:sldMk cId="1150965661" sldId="523"/>
            <ac:spMk id="7" creationId="{25F468AD-79C7-3676-CAD4-131BD12322DD}"/>
          </ac:spMkLst>
        </pc:spChg>
        <pc:spChg chg="mod">
          <ac:chgData name="Franz Muszarsky" userId="baa567244c442e54" providerId="LiveId" clId="{1302CEC5-2DD9-4CE2-A587-B20116F670C1}" dt="2024-01-07T16:45:25.448" v="3374"/>
          <ac:spMkLst>
            <pc:docMk/>
            <pc:sldMk cId="1150965661" sldId="523"/>
            <ac:spMk id="8" creationId="{DDF71576-4876-E7A3-554E-A9775D333750}"/>
          </ac:spMkLst>
        </pc:spChg>
        <pc:spChg chg="mod">
          <ac:chgData name="Franz Muszarsky" userId="baa567244c442e54" providerId="LiveId" clId="{1302CEC5-2DD9-4CE2-A587-B20116F670C1}" dt="2024-01-07T16:45:25.448" v="3374"/>
          <ac:spMkLst>
            <pc:docMk/>
            <pc:sldMk cId="1150965661" sldId="523"/>
            <ac:spMk id="10" creationId="{00BAFC58-E196-00DF-20F6-A0EB2D41E3C4}"/>
          </ac:spMkLst>
        </pc:spChg>
        <pc:spChg chg="mod">
          <ac:chgData name="Franz Muszarsky" userId="baa567244c442e54" providerId="LiveId" clId="{1302CEC5-2DD9-4CE2-A587-B20116F670C1}" dt="2024-01-07T16:45:25.448" v="3374"/>
          <ac:spMkLst>
            <pc:docMk/>
            <pc:sldMk cId="1150965661" sldId="523"/>
            <ac:spMk id="11" creationId="{7D38EFDC-9806-FE78-CDF4-5161BA301179}"/>
          </ac:spMkLst>
        </pc:spChg>
        <pc:spChg chg="mod">
          <ac:chgData name="Franz Muszarsky" userId="baa567244c442e54" providerId="LiveId" clId="{1302CEC5-2DD9-4CE2-A587-B20116F670C1}" dt="2024-01-07T16:45:25.448" v="3374"/>
          <ac:spMkLst>
            <pc:docMk/>
            <pc:sldMk cId="1150965661" sldId="523"/>
            <ac:spMk id="12" creationId="{9463D904-7294-DC33-4C17-DDF374D354D5}"/>
          </ac:spMkLst>
        </pc:spChg>
        <pc:spChg chg="add mod">
          <ac:chgData name="Franz Muszarsky" userId="baa567244c442e54" providerId="LiveId" clId="{1302CEC5-2DD9-4CE2-A587-B20116F670C1}" dt="2024-01-07T16:45:25.448" v="3374"/>
          <ac:spMkLst>
            <pc:docMk/>
            <pc:sldMk cId="1150965661" sldId="523"/>
            <ac:spMk id="13" creationId="{E0FBC892-5002-83AB-80D2-522E76BFF698}"/>
          </ac:spMkLst>
        </pc:spChg>
        <pc:spChg chg="mod topLvl">
          <ac:chgData name="Franz Muszarsky" userId="baa567244c442e54" providerId="LiveId" clId="{1302CEC5-2DD9-4CE2-A587-B20116F670C1}" dt="2024-01-07T16:53:40.639" v="3965" actId="20577"/>
          <ac:spMkLst>
            <pc:docMk/>
            <pc:sldMk cId="1150965661" sldId="523"/>
            <ac:spMk id="17" creationId="{F6C19517-E12D-4B2E-EA34-31DD377897DF}"/>
          </ac:spMkLst>
        </pc:spChg>
        <pc:spChg chg="del">
          <ac:chgData name="Franz Muszarsky" userId="baa567244c442e54" providerId="LiveId" clId="{1302CEC5-2DD9-4CE2-A587-B20116F670C1}" dt="2024-01-07T16:45:17.618" v="3373" actId="478"/>
          <ac:spMkLst>
            <pc:docMk/>
            <pc:sldMk cId="1150965661" sldId="523"/>
            <ac:spMk id="23" creationId="{C62BF07F-2987-F7D1-E067-31510F56CD4C}"/>
          </ac:spMkLst>
        </pc:spChg>
        <pc:spChg chg="mod topLvl">
          <ac:chgData name="Franz Muszarsky" userId="baa567244c442e54" providerId="LiveId" clId="{1302CEC5-2DD9-4CE2-A587-B20116F670C1}" dt="2024-01-07T16:46:19.306" v="3381" actId="165"/>
          <ac:spMkLst>
            <pc:docMk/>
            <pc:sldMk cId="1150965661" sldId="523"/>
            <ac:spMk id="24" creationId="{81ED1978-AB09-51A9-A660-2D43F5BDDD2A}"/>
          </ac:spMkLst>
        </pc:spChg>
        <pc:spChg chg="mod topLvl">
          <ac:chgData name="Franz Muszarsky" userId="baa567244c442e54" providerId="LiveId" clId="{1302CEC5-2DD9-4CE2-A587-B20116F670C1}" dt="2024-01-07T16:46:33.541" v="3384" actId="207"/>
          <ac:spMkLst>
            <pc:docMk/>
            <pc:sldMk cId="1150965661" sldId="523"/>
            <ac:spMk id="25" creationId="{AA00532D-5D4E-4514-4537-AAF5A584F476}"/>
          </ac:spMkLst>
        </pc:spChg>
        <pc:spChg chg="mod topLvl">
          <ac:chgData name="Franz Muszarsky" userId="baa567244c442e54" providerId="LiveId" clId="{1302CEC5-2DD9-4CE2-A587-B20116F670C1}" dt="2024-01-07T17:34:25.027" v="5157" actId="20577"/>
          <ac:spMkLst>
            <pc:docMk/>
            <pc:sldMk cId="1150965661" sldId="523"/>
            <ac:spMk id="26" creationId="{665AA628-5FFC-E784-F24E-FE598F2F3E8B}"/>
          </ac:spMkLst>
        </pc:spChg>
        <pc:spChg chg="mod topLvl">
          <ac:chgData name="Franz Muszarsky" userId="baa567244c442e54" providerId="LiveId" clId="{1302CEC5-2DD9-4CE2-A587-B20116F670C1}" dt="2024-01-07T16:46:19.306" v="3381" actId="165"/>
          <ac:spMkLst>
            <pc:docMk/>
            <pc:sldMk cId="1150965661" sldId="523"/>
            <ac:spMk id="27" creationId="{C63DDD65-06EF-24AA-B8A7-F1B27D30BCE7}"/>
          </ac:spMkLst>
        </pc:spChg>
        <pc:spChg chg="mod topLvl">
          <ac:chgData name="Franz Muszarsky" userId="baa567244c442e54" providerId="LiveId" clId="{1302CEC5-2DD9-4CE2-A587-B20116F670C1}" dt="2024-01-07T17:34:20.117" v="5153" actId="20577"/>
          <ac:spMkLst>
            <pc:docMk/>
            <pc:sldMk cId="1150965661" sldId="523"/>
            <ac:spMk id="28" creationId="{9DAE163D-89CF-8515-9591-E8C0A07B01F2}"/>
          </ac:spMkLst>
        </pc:spChg>
        <pc:spChg chg="add mod">
          <ac:chgData name="Franz Muszarsky" userId="baa567244c442e54" providerId="LiveId" clId="{1302CEC5-2DD9-4CE2-A587-B20116F670C1}" dt="2024-01-07T16:51:35.790" v="3827" actId="1076"/>
          <ac:spMkLst>
            <pc:docMk/>
            <pc:sldMk cId="1150965661" sldId="523"/>
            <ac:spMk id="29" creationId="{9563B150-C396-D374-0A19-08880394CB83}"/>
          </ac:spMkLst>
        </pc:spChg>
        <pc:grpChg chg="add mod">
          <ac:chgData name="Franz Muszarsky" userId="baa567244c442e54" providerId="LiveId" clId="{1302CEC5-2DD9-4CE2-A587-B20116F670C1}" dt="2024-01-07T16:45:25.448" v="3374"/>
          <ac:grpSpMkLst>
            <pc:docMk/>
            <pc:sldMk cId="1150965661" sldId="523"/>
            <ac:grpSpMk id="6" creationId="{0084A405-F1CB-9AA0-14B2-9E6E14FAB672}"/>
          </ac:grpSpMkLst>
        </pc:grpChg>
        <pc:grpChg chg="mod">
          <ac:chgData name="Franz Muszarsky" userId="baa567244c442e54" providerId="LiveId" clId="{1302CEC5-2DD9-4CE2-A587-B20116F670C1}" dt="2024-01-07T16:45:25.448" v="3374"/>
          <ac:grpSpMkLst>
            <pc:docMk/>
            <pc:sldMk cId="1150965661" sldId="523"/>
            <ac:grpSpMk id="9" creationId="{BE2606AD-08FD-9C4C-630C-0CD3822EE03F}"/>
          </ac:grpSpMkLst>
        </pc:grpChg>
        <pc:grpChg chg="del mod">
          <ac:chgData name="Franz Muszarsky" userId="baa567244c442e54" providerId="LiveId" clId="{1302CEC5-2DD9-4CE2-A587-B20116F670C1}" dt="2024-01-07T16:46:19.306" v="3381" actId="165"/>
          <ac:grpSpMkLst>
            <pc:docMk/>
            <pc:sldMk cId="1150965661" sldId="523"/>
            <ac:grpSpMk id="16" creationId="{BD98B1E5-F312-B042-8ACD-711AAB33DD10}"/>
          </ac:grpSpMkLst>
        </pc:grpChg>
        <pc:grpChg chg="del">
          <ac:chgData name="Franz Muszarsky" userId="baa567244c442e54" providerId="LiveId" clId="{1302CEC5-2DD9-4CE2-A587-B20116F670C1}" dt="2024-01-07T16:45:13.569" v="3372" actId="478"/>
          <ac:grpSpMkLst>
            <pc:docMk/>
            <pc:sldMk cId="1150965661" sldId="523"/>
            <ac:grpSpMk id="18" creationId="{3C2E2F28-5F71-1B74-B4C7-8CFC08D3DCA6}"/>
          </ac:grpSpMkLst>
        </pc:grpChg>
        <pc:graphicFrameChg chg="mod">
          <ac:chgData name="Franz Muszarsky" userId="baa567244c442e54" providerId="LiveId" clId="{1302CEC5-2DD9-4CE2-A587-B20116F670C1}" dt="2024-01-07T16:53:30.814" v="3955" actId="20577"/>
          <ac:graphicFrameMkLst>
            <pc:docMk/>
            <pc:sldMk cId="1150965661" sldId="523"/>
            <ac:graphicFrameMk id="4" creationId="{831B5BC1-6DBF-5E61-D323-7FCBB80D9575}"/>
          </ac:graphicFrameMkLst>
        </pc:graphicFrameChg>
        <pc:graphicFrameChg chg="add del mod">
          <ac:chgData name="Franz Muszarsky" userId="baa567244c442e54" providerId="LiveId" clId="{1302CEC5-2DD9-4CE2-A587-B20116F670C1}" dt="2024-01-07T16:46:07.327" v="3377" actId="478"/>
          <ac:graphicFrameMkLst>
            <pc:docMk/>
            <pc:sldMk cId="1150965661" sldId="523"/>
            <ac:graphicFrameMk id="14" creationId="{71464297-CE63-4C23-6EEA-0334FD7E5607}"/>
          </ac:graphicFrameMkLst>
        </pc:graphicFrameChg>
        <pc:graphicFrameChg chg="add del mod">
          <ac:chgData name="Franz Muszarsky" userId="baa567244c442e54" providerId="LiveId" clId="{1302CEC5-2DD9-4CE2-A587-B20116F670C1}" dt="2024-01-07T16:46:18.265" v="3380" actId="18245"/>
          <ac:graphicFrameMkLst>
            <pc:docMk/>
            <pc:sldMk cId="1150965661" sldId="523"/>
            <ac:graphicFrameMk id="15" creationId="{2A91F985-DFC6-2C82-7B89-6D5CFA87953B}"/>
          </ac:graphicFrameMkLst>
        </pc:graphicFrameChg>
        <pc:picChg chg="del">
          <ac:chgData name="Franz Muszarsky" userId="baa567244c442e54" providerId="LiveId" clId="{1302CEC5-2DD9-4CE2-A587-B20116F670C1}" dt="2024-01-07T16:45:13.569" v="3372" actId="478"/>
          <ac:picMkLst>
            <pc:docMk/>
            <pc:sldMk cId="1150965661" sldId="523"/>
            <ac:picMk id="22" creationId="{3634F828-34F2-4CF7-3468-9BC7644C543C}"/>
          </ac:picMkLst>
        </pc:picChg>
      </pc:sldChg>
      <pc:sldChg chg="addSp delSp modSp add mod modTransition delAnim modAnim">
        <pc:chgData name="Franz Muszarsky" userId="baa567244c442e54" providerId="LiveId" clId="{1302CEC5-2DD9-4CE2-A587-B20116F670C1}" dt="2024-01-07T17:56:38.906" v="5900"/>
        <pc:sldMkLst>
          <pc:docMk/>
          <pc:sldMk cId="2902100099" sldId="524"/>
        </pc:sldMkLst>
        <pc:spChg chg="mod">
          <ac:chgData name="Franz Muszarsky" userId="baa567244c442e54" providerId="LiveId" clId="{1302CEC5-2DD9-4CE2-A587-B20116F670C1}" dt="2024-01-07T17:00:22.226" v="4022" actId="20577"/>
          <ac:spMkLst>
            <pc:docMk/>
            <pc:sldMk cId="2902100099" sldId="524"/>
            <ac:spMk id="2" creationId="{F3A5B303-FBE2-0B6C-F0B2-4C51190E583B}"/>
          </ac:spMkLst>
        </pc:spChg>
        <pc:spChg chg="mod">
          <ac:chgData name="Franz Muszarsky" userId="baa567244c442e54" providerId="LiveId" clId="{1302CEC5-2DD9-4CE2-A587-B20116F670C1}" dt="2024-01-07T17:55:23.444" v="5895" actId="20577"/>
          <ac:spMkLst>
            <pc:docMk/>
            <pc:sldMk cId="2902100099" sldId="524"/>
            <ac:spMk id="3" creationId="{043BE14F-CDF5-7A5E-86AD-B1C907529C7D}"/>
          </ac:spMkLst>
        </pc:spChg>
        <pc:spChg chg="del">
          <ac:chgData name="Franz Muszarsky" userId="baa567244c442e54" providerId="LiveId" clId="{1302CEC5-2DD9-4CE2-A587-B20116F670C1}" dt="2024-01-07T16:56:06.491" v="4016" actId="478"/>
          <ac:spMkLst>
            <pc:docMk/>
            <pc:sldMk cId="2902100099" sldId="524"/>
            <ac:spMk id="17" creationId="{F6C19517-E12D-4B2E-EA34-31DD377897DF}"/>
          </ac:spMkLst>
        </pc:spChg>
        <pc:spChg chg="add del mod">
          <ac:chgData name="Franz Muszarsky" userId="baa567244c442e54" providerId="LiveId" clId="{1302CEC5-2DD9-4CE2-A587-B20116F670C1}" dt="2024-01-07T17:08:37.935" v="4324" actId="478"/>
          <ac:spMkLst>
            <pc:docMk/>
            <pc:sldMk cId="2902100099" sldId="524"/>
            <ac:spMk id="23" creationId="{33E893FD-F7E3-5FB6-BE60-14B0A5542D8F}"/>
          </ac:spMkLst>
        </pc:spChg>
        <pc:spChg chg="del">
          <ac:chgData name="Franz Muszarsky" userId="baa567244c442e54" providerId="LiveId" clId="{1302CEC5-2DD9-4CE2-A587-B20116F670C1}" dt="2024-01-07T16:56:06.491" v="4016" actId="478"/>
          <ac:spMkLst>
            <pc:docMk/>
            <pc:sldMk cId="2902100099" sldId="524"/>
            <ac:spMk id="25" creationId="{AA00532D-5D4E-4514-4537-AAF5A584F476}"/>
          </ac:spMkLst>
        </pc:spChg>
        <pc:spChg chg="del">
          <ac:chgData name="Franz Muszarsky" userId="baa567244c442e54" providerId="LiveId" clId="{1302CEC5-2DD9-4CE2-A587-B20116F670C1}" dt="2024-01-07T16:56:06.491" v="4016" actId="478"/>
          <ac:spMkLst>
            <pc:docMk/>
            <pc:sldMk cId="2902100099" sldId="524"/>
            <ac:spMk id="26" creationId="{665AA628-5FFC-E784-F24E-FE598F2F3E8B}"/>
          </ac:spMkLst>
        </pc:spChg>
        <pc:spChg chg="del">
          <ac:chgData name="Franz Muszarsky" userId="baa567244c442e54" providerId="LiveId" clId="{1302CEC5-2DD9-4CE2-A587-B20116F670C1}" dt="2024-01-07T16:56:06.491" v="4016" actId="478"/>
          <ac:spMkLst>
            <pc:docMk/>
            <pc:sldMk cId="2902100099" sldId="524"/>
            <ac:spMk id="27" creationId="{C63DDD65-06EF-24AA-B8A7-F1B27D30BCE7}"/>
          </ac:spMkLst>
        </pc:spChg>
        <pc:spChg chg="del">
          <ac:chgData name="Franz Muszarsky" userId="baa567244c442e54" providerId="LiveId" clId="{1302CEC5-2DD9-4CE2-A587-B20116F670C1}" dt="2024-01-07T16:56:06.491" v="4016" actId="478"/>
          <ac:spMkLst>
            <pc:docMk/>
            <pc:sldMk cId="2902100099" sldId="524"/>
            <ac:spMk id="28" creationId="{9DAE163D-89CF-8515-9591-E8C0A07B01F2}"/>
          </ac:spMkLst>
        </pc:spChg>
        <pc:spChg chg="del">
          <ac:chgData name="Franz Muszarsky" userId="baa567244c442e54" providerId="LiveId" clId="{1302CEC5-2DD9-4CE2-A587-B20116F670C1}" dt="2024-01-07T16:56:06.491" v="4016" actId="478"/>
          <ac:spMkLst>
            <pc:docMk/>
            <pc:sldMk cId="2902100099" sldId="524"/>
            <ac:spMk id="29" creationId="{9563B150-C396-D374-0A19-08880394CB83}"/>
          </ac:spMkLst>
        </pc:spChg>
        <pc:spChg chg="add del mod">
          <ac:chgData name="Franz Muszarsky" userId="baa567244c442e54" providerId="LiveId" clId="{1302CEC5-2DD9-4CE2-A587-B20116F670C1}" dt="2024-01-07T17:04:18.195" v="4152" actId="478"/>
          <ac:spMkLst>
            <pc:docMk/>
            <pc:sldMk cId="2902100099" sldId="524"/>
            <ac:spMk id="30" creationId="{5AA843F7-8041-FF94-5E29-4F060809AB99}"/>
          </ac:spMkLst>
        </pc:spChg>
        <pc:spChg chg="add del mod">
          <ac:chgData name="Franz Muszarsky" userId="baa567244c442e54" providerId="LiveId" clId="{1302CEC5-2DD9-4CE2-A587-B20116F670C1}" dt="2024-01-07T17:11:40.464" v="4354" actId="1076"/>
          <ac:spMkLst>
            <pc:docMk/>
            <pc:sldMk cId="2902100099" sldId="524"/>
            <ac:spMk id="31" creationId="{32CEC5B8-DDC6-BAA1-245F-8A8926BBF8F2}"/>
          </ac:spMkLst>
        </pc:spChg>
        <pc:spChg chg="add del mod">
          <ac:chgData name="Franz Muszarsky" userId="baa567244c442e54" providerId="LiveId" clId="{1302CEC5-2DD9-4CE2-A587-B20116F670C1}" dt="2024-01-07T17:03:39.693" v="4137" actId="478"/>
          <ac:spMkLst>
            <pc:docMk/>
            <pc:sldMk cId="2902100099" sldId="524"/>
            <ac:spMk id="32" creationId="{565AE8BD-8F2D-F8FC-BAB8-9DA5EC0BD0DC}"/>
          </ac:spMkLst>
        </pc:spChg>
        <pc:spChg chg="add del mod">
          <ac:chgData name="Franz Muszarsky" userId="baa567244c442e54" providerId="LiveId" clId="{1302CEC5-2DD9-4CE2-A587-B20116F670C1}" dt="2024-01-07T17:04:09.199" v="4148" actId="478"/>
          <ac:spMkLst>
            <pc:docMk/>
            <pc:sldMk cId="2902100099" sldId="524"/>
            <ac:spMk id="33" creationId="{5B592C00-40C5-D154-8E96-3D0D8CE25D8B}"/>
          </ac:spMkLst>
        </pc:spChg>
        <pc:spChg chg="add del mod">
          <ac:chgData name="Franz Muszarsky" userId="baa567244c442e54" providerId="LiveId" clId="{1302CEC5-2DD9-4CE2-A587-B20116F670C1}" dt="2024-01-07T17:07:11.652" v="4316" actId="478"/>
          <ac:spMkLst>
            <pc:docMk/>
            <pc:sldMk cId="2902100099" sldId="524"/>
            <ac:spMk id="34" creationId="{61055F8B-2FB8-2829-AF09-DFAB14ED9C19}"/>
          </ac:spMkLst>
        </pc:spChg>
        <pc:spChg chg="add del mod">
          <ac:chgData name="Franz Muszarsky" userId="baa567244c442e54" providerId="LiveId" clId="{1302CEC5-2DD9-4CE2-A587-B20116F670C1}" dt="2024-01-07T17:07:10.559" v="4315" actId="478"/>
          <ac:spMkLst>
            <pc:docMk/>
            <pc:sldMk cId="2902100099" sldId="524"/>
            <ac:spMk id="35" creationId="{FB9BC4BC-119A-A226-4E8F-3CFAA3E888CA}"/>
          </ac:spMkLst>
        </pc:spChg>
        <pc:spChg chg="add del mod">
          <ac:chgData name="Franz Muszarsky" userId="baa567244c442e54" providerId="LiveId" clId="{1302CEC5-2DD9-4CE2-A587-B20116F670C1}" dt="2024-01-07T17:04:49.398" v="4210" actId="478"/>
          <ac:spMkLst>
            <pc:docMk/>
            <pc:sldMk cId="2902100099" sldId="524"/>
            <ac:spMk id="36" creationId="{F69F5219-601D-DC12-67A3-FEAE4AA1DA62}"/>
          </ac:spMkLst>
        </pc:spChg>
        <pc:spChg chg="add del mod">
          <ac:chgData name="Franz Muszarsky" userId="baa567244c442e54" providerId="LiveId" clId="{1302CEC5-2DD9-4CE2-A587-B20116F670C1}" dt="2024-01-07T17:05:40.101" v="4218" actId="478"/>
          <ac:spMkLst>
            <pc:docMk/>
            <pc:sldMk cId="2902100099" sldId="524"/>
            <ac:spMk id="37" creationId="{18BE3899-F4FE-A1F3-F81A-678D847DF721}"/>
          </ac:spMkLst>
        </pc:spChg>
        <pc:spChg chg="add del mod">
          <ac:chgData name="Franz Muszarsky" userId="baa567244c442e54" providerId="LiveId" clId="{1302CEC5-2DD9-4CE2-A587-B20116F670C1}" dt="2024-01-07T17:06:42.508" v="4297" actId="478"/>
          <ac:spMkLst>
            <pc:docMk/>
            <pc:sldMk cId="2902100099" sldId="524"/>
            <ac:spMk id="38" creationId="{3B456894-66CA-B10B-081F-573984FEF9A4}"/>
          </ac:spMkLst>
        </pc:spChg>
        <pc:spChg chg="add del mod">
          <ac:chgData name="Franz Muszarsky" userId="baa567244c442e54" providerId="LiveId" clId="{1302CEC5-2DD9-4CE2-A587-B20116F670C1}" dt="2024-01-07T17:08:37.935" v="4324" actId="478"/>
          <ac:spMkLst>
            <pc:docMk/>
            <pc:sldMk cId="2902100099" sldId="524"/>
            <ac:spMk id="39" creationId="{3C1C2D1D-7D4F-94BB-8DB6-E7FCB6BF707A}"/>
          </ac:spMkLst>
        </pc:spChg>
        <pc:spChg chg="add del mod">
          <ac:chgData name="Franz Muszarsky" userId="baa567244c442e54" providerId="LiveId" clId="{1302CEC5-2DD9-4CE2-A587-B20116F670C1}" dt="2024-01-07T17:08:37.935" v="4324" actId="478"/>
          <ac:spMkLst>
            <pc:docMk/>
            <pc:sldMk cId="2902100099" sldId="524"/>
            <ac:spMk id="40" creationId="{2E969C6E-F9D6-9B30-1FF3-AE8C53B49FB5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42" creationId="{009769A1-EB82-61CB-995C-0C5EBA27CCAA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43" creationId="{D00747F0-8159-FEF0-3C71-FCE4D8BB9796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44" creationId="{36F7C813-90BF-9048-ADD0-A82276D06C29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45" creationId="{579C312E-5A98-9292-4E94-C37BDD9FE893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46" creationId="{DA3A313B-6E2D-5E28-C59E-D36425C32FE5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48" creationId="{31985CC6-F3E9-2BA3-6719-EA64A2F89E3F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49" creationId="{729729EE-E3EB-D38F-5E85-ED0B7B16C4E3}"/>
          </ac:spMkLst>
        </pc:spChg>
        <pc:spChg chg="mod">
          <ac:chgData name="Franz Muszarsky" userId="baa567244c442e54" providerId="LiveId" clId="{1302CEC5-2DD9-4CE2-A587-B20116F670C1}" dt="2024-01-07T17:11:52.931" v="4358" actId="20577"/>
          <ac:spMkLst>
            <pc:docMk/>
            <pc:sldMk cId="2902100099" sldId="524"/>
            <ac:spMk id="50" creationId="{DB307EA9-317E-2F43-9C94-66EDF499BBD6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51" creationId="{77585DEE-E8AC-A124-C749-F999FE301092}"/>
          </ac:spMkLst>
        </pc:spChg>
        <pc:spChg chg="add del mod">
          <ac:chgData name="Franz Muszarsky" userId="baa567244c442e54" providerId="LiveId" clId="{1302CEC5-2DD9-4CE2-A587-B20116F670C1}" dt="2024-01-07T17:08:51.077" v="4329" actId="478"/>
          <ac:spMkLst>
            <pc:docMk/>
            <pc:sldMk cId="2902100099" sldId="524"/>
            <ac:spMk id="52" creationId="{62851C76-14C4-41F9-7573-87AAF614F3C4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54" creationId="{5CE5A680-D473-DC71-42D3-FC32130B3F95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55" creationId="{21288B35-9289-4B20-9AD4-B548E8ECE644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56" creationId="{D270CD60-2196-36E4-45E2-E9234F575119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57" creationId="{28138241-F7EA-DD11-14E7-36B05242C8D0}"/>
          </ac:spMkLst>
        </pc:spChg>
        <pc:spChg chg="add del mod">
          <ac:chgData name="Franz Muszarsky" userId="baa567244c442e54" providerId="LiveId" clId="{1302CEC5-2DD9-4CE2-A587-B20116F670C1}" dt="2024-01-07T17:08:45.428" v="4326" actId="478"/>
          <ac:spMkLst>
            <pc:docMk/>
            <pc:sldMk cId="2902100099" sldId="524"/>
            <ac:spMk id="58" creationId="{27DEAF14-4E60-E957-D4D3-E7B1BFCE3480}"/>
          </ac:spMkLst>
        </pc:spChg>
        <pc:spChg chg="mod">
          <ac:chgData name="Franz Muszarsky" userId="baa567244c442e54" providerId="LiveId" clId="{1302CEC5-2DD9-4CE2-A587-B20116F670C1}" dt="2024-01-07T17:11:19.657" v="4351" actId="571"/>
          <ac:spMkLst>
            <pc:docMk/>
            <pc:sldMk cId="2902100099" sldId="524"/>
            <ac:spMk id="64" creationId="{D2EC0C7B-9742-508C-FD14-DF2195E2CEE8}"/>
          </ac:spMkLst>
        </pc:spChg>
        <pc:spChg chg="mod">
          <ac:chgData name="Franz Muszarsky" userId="baa567244c442e54" providerId="LiveId" clId="{1302CEC5-2DD9-4CE2-A587-B20116F670C1}" dt="2024-01-07T17:11:19.657" v="4351" actId="571"/>
          <ac:spMkLst>
            <pc:docMk/>
            <pc:sldMk cId="2902100099" sldId="524"/>
            <ac:spMk id="65" creationId="{68E113D1-8ED4-4EBB-C13D-E44D34552B9D}"/>
          </ac:spMkLst>
        </pc:spChg>
        <pc:spChg chg="mod">
          <ac:chgData name="Franz Muszarsky" userId="baa567244c442e54" providerId="LiveId" clId="{1302CEC5-2DD9-4CE2-A587-B20116F670C1}" dt="2024-01-07T17:11:19.657" v="4351" actId="571"/>
          <ac:spMkLst>
            <pc:docMk/>
            <pc:sldMk cId="2902100099" sldId="524"/>
            <ac:spMk id="66" creationId="{D459B551-BABB-1BDC-73BB-DD55FA293EC9}"/>
          </ac:spMkLst>
        </pc:spChg>
        <pc:spChg chg="mod">
          <ac:chgData name="Franz Muszarsky" userId="baa567244c442e54" providerId="LiveId" clId="{1302CEC5-2DD9-4CE2-A587-B20116F670C1}" dt="2024-01-07T17:11:19.657" v="4351" actId="571"/>
          <ac:spMkLst>
            <pc:docMk/>
            <pc:sldMk cId="2902100099" sldId="524"/>
            <ac:spMk id="67" creationId="{2075708D-6D82-863F-76E1-8B684A19E7A1}"/>
          </ac:spMkLst>
        </pc:spChg>
        <pc:spChg chg="add mod">
          <ac:chgData name="Franz Muszarsky" userId="baa567244c442e54" providerId="LiveId" clId="{1302CEC5-2DD9-4CE2-A587-B20116F670C1}" dt="2024-01-07T17:13:12.660" v="4541" actId="120"/>
          <ac:spMkLst>
            <pc:docMk/>
            <pc:sldMk cId="2902100099" sldId="524"/>
            <ac:spMk id="70" creationId="{1E742322-064F-2CCC-0CC7-FC51DB767882}"/>
          </ac:spMkLst>
        </pc:spChg>
        <pc:spChg chg="add del mod">
          <ac:chgData name="Franz Muszarsky" userId="baa567244c442e54" providerId="LiveId" clId="{1302CEC5-2DD9-4CE2-A587-B20116F670C1}" dt="2024-01-07T17:12:46.531" v="4468" actId="478"/>
          <ac:spMkLst>
            <pc:docMk/>
            <pc:sldMk cId="2902100099" sldId="524"/>
            <ac:spMk id="71" creationId="{3DE9C540-521D-7512-6326-FE5CB81E62C5}"/>
          </ac:spMkLst>
        </pc:spChg>
        <pc:spChg chg="add mod">
          <ac:chgData name="Franz Muszarsky" userId="baa567244c442e54" providerId="LiveId" clId="{1302CEC5-2DD9-4CE2-A587-B20116F670C1}" dt="2024-01-07T17:27:11.716" v="4930" actId="6549"/>
          <ac:spMkLst>
            <pc:docMk/>
            <pc:sldMk cId="2902100099" sldId="524"/>
            <ac:spMk id="72" creationId="{4E5AF55B-DD59-AD42-9421-4909FE416E45}"/>
          </ac:spMkLst>
        </pc:spChg>
        <pc:grpChg chg="add mod">
          <ac:chgData name="Franz Muszarsky" userId="baa567244c442e54" providerId="LiveId" clId="{1302CEC5-2DD9-4CE2-A587-B20116F670C1}" dt="2024-01-07T17:13:48.973" v="4547" actId="14100"/>
          <ac:grpSpMkLst>
            <pc:docMk/>
            <pc:sldMk cId="2902100099" sldId="524"/>
            <ac:grpSpMk id="41" creationId="{1BC58449-B45F-40A8-195E-FD8A9D55B46A}"/>
          </ac:grpSpMkLst>
        </pc:grpChg>
        <pc:grpChg chg="add mod">
          <ac:chgData name="Franz Muszarsky" userId="baa567244c442e54" providerId="LiveId" clId="{1302CEC5-2DD9-4CE2-A587-B20116F670C1}" dt="2024-01-07T17:26:05.267" v="4924" actId="164"/>
          <ac:grpSpMkLst>
            <pc:docMk/>
            <pc:sldMk cId="2902100099" sldId="524"/>
            <ac:grpSpMk id="47" creationId="{FC143D0D-E694-49B5-B47F-9A5BBFA66612}"/>
          </ac:grpSpMkLst>
        </pc:grpChg>
        <pc:grpChg chg="add del mod">
          <ac:chgData name="Franz Muszarsky" userId="baa567244c442e54" providerId="LiveId" clId="{1302CEC5-2DD9-4CE2-A587-B20116F670C1}" dt="2024-01-07T17:10:28.579" v="4337" actId="478"/>
          <ac:grpSpMkLst>
            <pc:docMk/>
            <pc:sldMk cId="2902100099" sldId="524"/>
            <ac:grpSpMk id="53" creationId="{CCCF0683-7BE6-9C08-B1D6-1937CC111434}"/>
          </ac:grpSpMkLst>
        </pc:grpChg>
        <pc:grpChg chg="add mod">
          <ac:chgData name="Franz Muszarsky" userId="baa567244c442e54" providerId="LiveId" clId="{1302CEC5-2DD9-4CE2-A587-B20116F670C1}" dt="2024-01-07T17:11:19.657" v="4351" actId="571"/>
          <ac:grpSpMkLst>
            <pc:docMk/>
            <pc:sldMk cId="2902100099" sldId="524"/>
            <ac:grpSpMk id="63" creationId="{96808F77-0ECE-1EA3-6A4F-4CC050594A56}"/>
          </ac:grpSpMkLst>
        </pc:grpChg>
        <pc:grpChg chg="add mod">
          <ac:chgData name="Franz Muszarsky" userId="baa567244c442e54" providerId="LiveId" clId="{1302CEC5-2DD9-4CE2-A587-B20116F670C1}" dt="2024-01-07T17:26:05.267" v="4924" actId="164"/>
          <ac:grpSpMkLst>
            <pc:docMk/>
            <pc:sldMk cId="2902100099" sldId="524"/>
            <ac:grpSpMk id="73" creationId="{2397A5F0-0AC7-7E1D-CBB0-BCEDE755AFFF}"/>
          </ac:grpSpMkLst>
        </pc:grpChg>
        <pc:graphicFrameChg chg="del">
          <ac:chgData name="Franz Muszarsky" userId="baa567244c442e54" providerId="LiveId" clId="{1302CEC5-2DD9-4CE2-A587-B20116F670C1}" dt="2024-01-07T16:56:02.810" v="4015" actId="478"/>
          <ac:graphicFrameMkLst>
            <pc:docMk/>
            <pc:sldMk cId="2902100099" sldId="524"/>
            <ac:graphicFrameMk id="4" creationId="{831B5BC1-6DBF-5E61-D323-7FCBB80D9575}"/>
          </ac:graphicFrameMkLst>
        </pc:graphicFrameChg>
        <pc:picChg chg="add del mod">
          <ac:chgData name="Franz Muszarsky" userId="baa567244c442e54" providerId="LiveId" clId="{1302CEC5-2DD9-4CE2-A587-B20116F670C1}" dt="2024-01-07T17:00:41.186" v="4029" actId="478"/>
          <ac:picMkLst>
            <pc:docMk/>
            <pc:sldMk cId="2902100099" sldId="524"/>
            <ac:picMk id="15" creationId="{2EFBAB48-3F0D-FA71-4500-FB31C9889854}"/>
          </ac:picMkLst>
        </pc:picChg>
        <pc:picChg chg="add del mod">
          <ac:chgData name="Franz Muszarsky" userId="baa567244c442e54" providerId="LiveId" clId="{1302CEC5-2DD9-4CE2-A587-B20116F670C1}" dt="2024-01-07T17:00:34.252" v="4026" actId="478"/>
          <ac:picMkLst>
            <pc:docMk/>
            <pc:sldMk cId="2902100099" sldId="524"/>
            <ac:picMk id="18" creationId="{9C3FE1B1-9BFC-261F-3E16-7FC314B3A3B3}"/>
          </ac:picMkLst>
        </pc:picChg>
        <pc:picChg chg="add del mod ord">
          <ac:chgData name="Franz Muszarsky" userId="baa567244c442e54" providerId="LiveId" clId="{1302CEC5-2DD9-4CE2-A587-B20116F670C1}" dt="2024-01-07T17:08:37.935" v="4324" actId="478"/>
          <ac:picMkLst>
            <pc:docMk/>
            <pc:sldMk cId="2902100099" sldId="524"/>
            <ac:picMk id="20" creationId="{AF7002F6-518A-BB33-1E51-740C183C18D5}"/>
          </ac:picMkLst>
        </pc:picChg>
        <pc:picChg chg="add del mod ord">
          <ac:chgData name="Franz Muszarsky" userId="baa567244c442e54" providerId="LiveId" clId="{1302CEC5-2DD9-4CE2-A587-B20116F670C1}" dt="2024-01-07T17:06:17.536" v="4226" actId="478"/>
          <ac:picMkLst>
            <pc:docMk/>
            <pc:sldMk cId="2902100099" sldId="524"/>
            <ac:picMk id="22" creationId="{50D30C9C-4701-F2D7-EB44-6F0B499C6C23}"/>
          </ac:picMkLst>
        </pc:picChg>
        <pc:picChg chg="add mod">
          <ac:chgData name="Franz Muszarsky" userId="baa567244c442e54" providerId="LiveId" clId="{1302CEC5-2DD9-4CE2-A587-B20116F670C1}" dt="2024-01-07T17:26:05.267" v="4924" actId="164"/>
          <ac:picMkLst>
            <pc:docMk/>
            <pc:sldMk cId="2902100099" sldId="524"/>
            <ac:picMk id="60" creationId="{01ED36FC-7AF6-8FAA-23B9-699C0167B66A}"/>
          </ac:picMkLst>
        </pc:picChg>
        <pc:picChg chg="add mod">
          <ac:chgData name="Franz Muszarsky" userId="baa567244c442e54" providerId="LiveId" clId="{1302CEC5-2DD9-4CE2-A587-B20116F670C1}" dt="2024-01-07T17:26:05.267" v="4924" actId="164"/>
          <ac:picMkLst>
            <pc:docMk/>
            <pc:sldMk cId="2902100099" sldId="524"/>
            <ac:picMk id="62" creationId="{445EC500-F8AF-E1D9-FFBF-8F16BFC5381E}"/>
          </ac:picMkLst>
        </pc:picChg>
        <pc:picChg chg="add mod">
          <ac:chgData name="Franz Muszarsky" userId="baa567244c442e54" providerId="LiveId" clId="{1302CEC5-2DD9-4CE2-A587-B20116F670C1}" dt="2024-01-07T17:11:19.657" v="4351" actId="571"/>
          <ac:picMkLst>
            <pc:docMk/>
            <pc:sldMk cId="2902100099" sldId="524"/>
            <ac:picMk id="68" creationId="{C2626639-551C-F4A2-5874-CFB224061E25}"/>
          </ac:picMkLst>
        </pc:picChg>
        <pc:picChg chg="add mod">
          <ac:chgData name="Franz Muszarsky" userId="baa567244c442e54" providerId="LiveId" clId="{1302CEC5-2DD9-4CE2-A587-B20116F670C1}" dt="2024-01-07T17:11:19.657" v="4351" actId="571"/>
          <ac:picMkLst>
            <pc:docMk/>
            <pc:sldMk cId="2902100099" sldId="524"/>
            <ac:picMk id="69" creationId="{9F31FB4E-A27B-5DAA-F29A-DA6A5FA9384C}"/>
          </ac:picMkLst>
        </pc:picChg>
      </pc:sldChg>
      <pc:sldChg chg="add del">
        <pc:chgData name="Franz Muszarsky" userId="baa567244c442e54" providerId="LiveId" clId="{1302CEC5-2DD9-4CE2-A587-B20116F670C1}" dt="2024-01-07T17:24:44.544" v="4919" actId="47"/>
        <pc:sldMkLst>
          <pc:docMk/>
          <pc:sldMk cId="1438423537" sldId="525"/>
        </pc:sldMkLst>
      </pc:sldChg>
      <pc:sldChg chg="addSp delSp modSp add mod modTransition">
        <pc:chgData name="Franz Muszarsky" userId="baa567244c442e54" providerId="LiveId" clId="{1302CEC5-2DD9-4CE2-A587-B20116F670C1}" dt="2024-01-07T17:55:20.491" v="5893" actId="20577"/>
        <pc:sldMkLst>
          <pc:docMk/>
          <pc:sldMk cId="911386542" sldId="526"/>
        </pc:sldMkLst>
        <pc:spChg chg="mod">
          <ac:chgData name="Franz Muszarsky" userId="baa567244c442e54" providerId="LiveId" clId="{1302CEC5-2DD9-4CE2-A587-B20116F670C1}" dt="2024-01-07T17:28:49.826" v="5028" actId="20577"/>
          <ac:spMkLst>
            <pc:docMk/>
            <pc:sldMk cId="911386542" sldId="526"/>
            <ac:spMk id="2" creationId="{F3A5B303-FBE2-0B6C-F0B2-4C51190E583B}"/>
          </ac:spMkLst>
        </pc:spChg>
        <pc:spChg chg="mod">
          <ac:chgData name="Franz Muszarsky" userId="baa567244c442e54" providerId="LiveId" clId="{1302CEC5-2DD9-4CE2-A587-B20116F670C1}" dt="2024-01-07T17:55:20.491" v="5893" actId="20577"/>
          <ac:spMkLst>
            <pc:docMk/>
            <pc:sldMk cId="911386542" sldId="526"/>
            <ac:spMk id="3" creationId="{043BE14F-CDF5-7A5E-86AD-B1C907529C7D}"/>
          </ac:spMkLst>
        </pc:spChg>
        <pc:spChg chg="add mod">
          <ac:chgData name="Franz Muszarsky" userId="baa567244c442e54" providerId="LiveId" clId="{1302CEC5-2DD9-4CE2-A587-B20116F670C1}" dt="2024-01-07T17:19:20.718" v="4714" actId="207"/>
          <ac:spMkLst>
            <pc:docMk/>
            <pc:sldMk cId="911386542" sldId="526"/>
            <ac:spMk id="4" creationId="{E4587D49-D35A-D58A-ADB3-DDA171F4E6A7}"/>
          </ac:spMkLst>
        </pc:spChg>
        <pc:spChg chg="add mod">
          <ac:chgData name="Franz Muszarsky" userId="baa567244c442e54" providerId="LiveId" clId="{1302CEC5-2DD9-4CE2-A587-B20116F670C1}" dt="2024-01-07T17:27:21.618" v="4932" actId="5793"/>
          <ac:spMkLst>
            <pc:docMk/>
            <pc:sldMk cId="911386542" sldId="526"/>
            <ac:spMk id="14" creationId="{B113A6B5-89EA-B557-0813-6D3CB31DF68C}"/>
          </ac:spMkLst>
        </pc:spChg>
        <pc:spChg chg="mod topLvl">
          <ac:chgData name="Franz Muszarsky" userId="baa567244c442e54" providerId="LiveId" clId="{1302CEC5-2DD9-4CE2-A587-B20116F670C1}" dt="2024-01-07T17:22:39.336" v="4887" actId="1036"/>
          <ac:spMkLst>
            <pc:docMk/>
            <pc:sldMk cId="911386542" sldId="526"/>
            <ac:spMk id="18" creationId="{48CEA55B-5D29-9F22-AF3F-A23749500348}"/>
          </ac:spMkLst>
        </pc:spChg>
        <pc:spChg chg="mod topLvl">
          <ac:chgData name="Franz Muszarsky" userId="baa567244c442e54" providerId="LiveId" clId="{1302CEC5-2DD9-4CE2-A587-B20116F670C1}" dt="2024-01-07T17:22:39.336" v="4887" actId="1036"/>
          <ac:spMkLst>
            <pc:docMk/>
            <pc:sldMk cId="911386542" sldId="526"/>
            <ac:spMk id="19" creationId="{135CE7F2-119A-24D6-0B17-619932018F6F}"/>
          </ac:spMkLst>
        </pc:spChg>
        <pc:spChg chg="add del mod topLvl">
          <ac:chgData name="Franz Muszarsky" userId="baa567244c442e54" providerId="LiveId" clId="{1302CEC5-2DD9-4CE2-A587-B20116F670C1}" dt="2024-01-07T17:22:48.922" v="4889" actId="1037"/>
          <ac:spMkLst>
            <pc:docMk/>
            <pc:sldMk cId="911386542" sldId="526"/>
            <ac:spMk id="20" creationId="{B60DB0CE-956B-2C87-0AC4-46B6740C3DF1}"/>
          </ac:spMkLst>
        </pc:spChg>
        <pc:spChg chg="del mod topLvl">
          <ac:chgData name="Franz Muszarsky" userId="baa567244c442e54" providerId="LiveId" clId="{1302CEC5-2DD9-4CE2-A587-B20116F670C1}" dt="2024-01-07T17:21:47.354" v="4849" actId="478"/>
          <ac:spMkLst>
            <pc:docMk/>
            <pc:sldMk cId="911386542" sldId="526"/>
            <ac:spMk id="21" creationId="{17CADDA6-483A-F592-1012-7ADB9915262C}"/>
          </ac:spMkLst>
        </pc:spChg>
        <pc:spChg chg="del mod">
          <ac:chgData name="Franz Muszarsky" userId="baa567244c442e54" providerId="LiveId" clId="{1302CEC5-2DD9-4CE2-A587-B20116F670C1}" dt="2024-01-07T17:21:16.810" v="4840" actId="478"/>
          <ac:spMkLst>
            <pc:docMk/>
            <pc:sldMk cId="911386542" sldId="526"/>
            <ac:spMk id="22" creationId="{936FCE12-FD69-EE3E-45FE-0E8C6F8C2B3F}"/>
          </ac:spMkLst>
        </pc:spChg>
        <pc:spChg chg="mod">
          <ac:chgData name="Franz Muszarsky" userId="baa567244c442e54" providerId="LiveId" clId="{1302CEC5-2DD9-4CE2-A587-B20116F670C1}" dt="2024-01-07T17:22:30.343" v="4871" actId="207"/>
          <ac:spMkLst>
            <pc:docMk/>
            <pc:sldMk cId="911386542" sldId="526"/>
            <ac:spMk id="25" creationId="{3F95F681-D5F3-952F-2BAA-FED8EA7BAAAD}"/>
          </ac:spMkLst>
        </pc:spChg>
        <pc:spChg chg="mod">
          <ac:chgData name="Franz Muszarsky" userId="baa567244c442e54" providerId="LiveId" clId="{1302CEC5-2DD9-4CE2-A587-B20116F670C1}" dt="2024-01-07T17:22:30.343" v="4871" actId="207"/>
          <ac:spMkLst>
            <pc:docMk/>
            <pc:sldMk cId="911386542" sldId="526"/>
            <ac:spMk id="26" creationId="{55807D47-D036-CBD7-5DFC-6AAC2A383472}"/>
          </ac:spMkLst>
        </pc:spChg>
        <pc:spChg chg="add del mod">
          <ac:chgData name="Franz Muszarsky" userId="baa567244c442e54" providerId="LiveId" clId="{1302CEC5-2DD9-4CE2-A587-B20116F670C1}" dt="2024-01-07T17:18:48.475" v="4680" actId="478"/>
          <ac:spMkLst>
            <pc:docMk/>
            <pc:sldMk cId="911386542" sldId="526"/>
            <ac:spMk id="31" creationId="{32CEC5B8-DDC6-BAA1-245F-8A8926BBF8F2}"/>
          </ac:spMkLst>
        </pc:spChg>
        <pc:spChg chg="mod">
          <ac:chgData name="Franz Muszarsky" userId="baa567244c442e54" providerId="LiveId" clId="{1302CEC5-2DD9-4CE2-A587-B20116F670C1}" dt="2024-01-07T17:26:08.794" v="4925"/>
          <ac:spMkLst>
            <pc:docMk/>
            <pc:sldMk cId="911386542" sldId="526"/>
            <ac:spMk id="32" creationId="{8534F536-7E59-1761-05DD-9DB2A5DEE510}"/>
          </ac:spMkLst>
        </pc:spChg>
        <pc:spChg chg="mod">
          <ac:chgData name="Franz Muszarsky" userId="baa567244c442e54" providerId="LiveId" clId="{1302CEC5-2DD9-4CE2-A587-B20116F670C1}" dt="2024-01-07T17:26:08.794" v="4925"/>
          <ac:spMkLst>
            <pc:docMk/>
            <pc:sldMk cId="911386542" sldId="526"/>
            <ac:spMk id="33" creationId="{9D3BC9B5-949A-8CD2-37F2-BA878E417AFE}"/>
          </ac:spMkLst>
        </pc:spChg>
        <pc:spChg chg="mod">
          <ac:chgData name="Franz Muszarsky" userId="baa567244c442e54" providerId="LiveId" clId="{1302CEC5-2DD9-4CE2-A587-B20116F670C1}" dt="2024-01-07T17:26:08.794" v="4925"/>
          <ac:spMkLst>
            <pc:docMk/>
            <pc:sldMk cId="911386542" sldId="526"/>
            <ac:spMk id="34" creationId="{091E3493-81E0-3EAE-38BD-231C75C3A4A4}"/>
          </ac:spMkLst>
        </pc:spChg>
        <pc:spChg chg="mod">
          <ac:chgData name="Franz Muszarsky" userId="baa567244c442e54" providerId="LiveId" clId="{1302CEC5-2DD9-4CE2-A587-B20116F670C1}" dt="2024-01-07T17:26:08.794" v="4925"/>
          <ac:spMkLst>
            <pc:docMk/>
            <pc:sldMk cId="911386542" sldId="526"/>
            <ac:spMk id="35" creationId="{63FD4721-9A12-238F-9EED-C6022E7493C4}"/>
          </ac:spMkLst>
        </pc:spChg>
        <pc:spChg chg="del">
          <ac:chgData name="Franz Muszarsky" userId="baa567244c442e54" providerId="LiveId" clId="{1302CEC5-2DD9-4CE2-A587-B20116F670C1}" dt="2024-01-07T17:18:52.353" v="4681" actId="478"/>
          <ac:spMkLst>
            <pc:docMk/>
            <pc:sldMk cId="911386542" sldId="526"/>
            <ac:spMk id="51" creationId="{77585DEE-E8AC-A124-C749-F999FE301092}"/>
          </ac:spMkLst>
        </pc:spChg>
        <pc:spChg chg="del">
          <ac:chgData name="Franz Muszarsky" userId="baa567244c442e54" providerId="LiveId" clId="{1302CEC5-2DD9-4CE2-A587-B20116F670C1}" dt="2024-01-07T17:18:57.541" v="4683" actId="478"/>
          <ac:spMkLst>
            <pc:docMk/>
            <pc:sldMk cId="911386542" sldId="526"/>
            <ac:spMk id="70" creationId="{1E742322-064F-2CCC-0CC7-FC51DB767882}"/>
          </ac:spMkLst>
        </pc:spChg>
        <pc:spChg chg="del">
          <ac:chgData name="Franz Muszarsky" userId="baa567244c442e54" providerId="LiveId" clId="{1302CEC5-2DD9-4CE2-A587-B20116F670C1}" dt="2024-01-07T17:18:55.457" v="4682" actId="478"/>
          <ac:spMkLst>
            <pc:docMk/>
            <pc:sldMk cId="911386542" sldId="526"/>
            <ac:spMk id="72" creationId="{4E5AF55B-DD59-AD42-9421-4909FE416E45}"/>
          </ac:spMkLst>
        </pc:spChg>
        <pc:grpChg chg="add del mod">
          <ac:chgData name="Franz Muszarsky" userId="baa567244c442e54" providerId="LiveId" clId="{1302CEC5-2DD9-4CE2-A587-B20116F670C1}" dt="2024-01-07T17:21:26.433" v="4844" actId="165"/>
          <ac:grpSpMkLst>
            <pc:docMk/>
            <pc:sldMk cId="911386542" sldId="526"/>
            <ac:grpSpMk id="17" creationId="{225C8C84-9392-BEAD-8929-BCD24D4BC340}"/>
          </ac:grpSpMkLst>
        </pc:grpChg>
        <pc:grpChg chg="mod ord">
          <ac:chgData name="Franz Muszarsky" userId="baa567244c442e54" providerId="LiveId" clId="{1302CEC5-2DD9-4CE2-A587-B20116F670C1}" dt="2024-01-07T17:23:00.177" v="4894" actId="1037"/>
          <ac:grpSpMkLst>
            <pc:docMk/>
            <pc:sldMk cId="911386542" sldId="526"/>
            <ac:grpSpMk id="23" creationId="{CA29AD39-4B29-297D-813A-80583372E5CC}"/>
          </ac:grpSpMkLst>
        </pc:grpChg>
        <pc:grpChg chg="add mod">
          <ac:chgData name="Franz Muszarsky" userId="baa567244c442e54" providerId="LiveId" clId="{1302CEC5-2DD9-4CE2-A587-B20116F670C1}" dt="2024-01-07T17:26:25.755" v="4928" actId="14100"/>
          <ac:grpSpMkLst>
            <pc:docMk/>
            <pc:sldMk cId="911386542" sldId="526"/>
            <ac:grpSpMk id="27" creationId="{08247998-1933-2AD6-9AE9-CDC8C21F1B01}"/>
          </ac:grpSpMkLst>
        </pc:grpChg>
        <pc:grpChg chg="mod">
          <ac:chgData name="Franz Muszarsky" userId="baa567244c442e54" providerId="LiveId" clId="{1302CEC5-2DD9-4CE2-A587-B20116F670C1}" dt="2024-01-07T17:26:08.794" v="4925"/>
          <ac:grpSpMkLst>
            <pc:docMk/>
            <pc:sldMk cId="911386542" sldId="526"/>
            <ac:grpSpMk id="28" creationId="{0300E51F-9E17-BE7E-ED4F-90673E89971E}"/>
          </ac:grpSpMkLst>
        </pc:grpChg>
        <pc:grpChg chg="mod">
          <ac:chgData name="Franz Muszarsky" userId="baa567244c442e54" providerId="LiveId" clId="{1302CEC5-2DD9-4CE2-A587-B20116F670C1}" dt="2024-01-07T17:19:26.192" v="4715" actId="1076"/>
          <ac:grpSpMkLst>
            <pc:docMk/>
            <pc:sldMk cId="911386542" sldId="526"/>
            <ac:grpSpMk id="41" creationId="{1BC58449-B45F-40A8-195E-FD8A9D55B46A}"/>
          </ac:grpSpMkLst>
        </pc:grpChg>
        <pc:grpChg chg="del mod">
          <ac:chgData name="Franz Muszarsky" userId="baa567244c442e54" providerId="LiveId" clId="{1302CEC5-2DD9-4CE2-A587-B20116F670C1}" dt="2024-01-07T17:25:55.050" v="4923" actId="478"/>
          <ac:grpSpMkLst>
            <pc:docMk/>
            <pc:sldMk cId="911386542" sldId="526"/>
            <ac:grpSpMk id="47" creationId="{FC143D0D-E694-49B5-B47F-9A5BBFA66612}"/>
          </ac:grpSpMkLst>
        </pc:grpChg>
        <pc:picChg chg="add del mod">
          <ac:chgData name="Franz Muszarsky" userId="baa567244c442e54" providerId="LiveId" clId="{1302CEC5-2DD9-4CE2-A587-B20116F670C1}" dt="2024-01-07T17:21:39.394" v="4847" actId="27803"/>
          <ac:picMkLst>
            <pc:docMk/>
            <pc:sldMk cId="911386542" sldId="526"/>
            <ac:picMk id="16" creationId="{C0F3B07F-9B60-AD54-1BF2-B7659ACACBE1}"/>
          </ac:picMkLst>
        </pc:picChg>
        <pc:picChg chg="mod">
          <ac:chgData name="Franz Muszarsky" userId="baa567244c442e54" providerId="LiveId" clId="{1302CEC5-2DD9-4CE2-A587-B20116F670C1}" dt="2024-01-07T17:26:08.794" v="4925"/>
          <ac:picMkLst>
            <pc:docMk/>
            <pc:sldMk cId="911386542" sldId="526"/>
            <ac:picMk id="29" creationId="{3A26CF59-3619-DA37-8754-F8D063B46895}"/>
          </ac:picMkLst>
        </pc:picChg>
        <pc:picChg chg="mod">
          <ac:chgData name="Franz Muszarsky" userId="baa567244c442e54" providerId="LiveId" clId="{1302CEC5-2DD9-4CE2-A587-B20116F670C1}" dt="2024-01-07T17:26:08.794" v="4925"/>
          <ac:picMkLst>
            <pc:docMk/>
            <pc:sldMk cId="911386542" sldId="526"/>
            <ac:picMk id="30" creationId="{0C83ACE0-8145-185C-E994-EBF47A6555B6}"/>
          </ac:picMkLst>
        </pc:picChg>
        <pc:picChg chg="del mod">
          <ac:chgData name="Franz Muszarsky" userId="baa567244c442e54" providerId="LiveId" clId="{1302CEC5-2DD9-4CE2-A587-B20116F670C1}" dt="2024-01-07T17:25:54.409" v="4922" actId="478"/>
          <ac:picMkLst>
            <pc:docMk/>
            <pc:sldMk cId="911386542" sldId="526"/>
            <ac:picMk id="60" creationId="{01ED36FC-7AF6-8FAA-23B9-699C0167B66A}"/>
          </ac:picMkLst>
        </pc:picChg>
        <pc:picChg chg="del mod">
          <ac:chgData name="Franz Muszarsky" userId="baa567244c442e54" providerId="LiveId" clId="{1302CEC5-2DD9-4CE2-A587-B20116F670C1}" dt="2024-01-07T17:25:53.612" v="4921" actId="478"/>
          <ac:picMkLst>
            <pc:docMk/>
            <pc:sldMk cId="911386542" sldId="526"/>
            <ac:picMk id="62" creationId="{445EC500-F8AF-E1D9-FFBF-8F16BFC5381E}"/>
          </ac:picMkLst>
        </pc:picChg>
      </pc:sldChg>
      <pc:sldChg chg="addSp delSp modSp add del mod ord modTransition">
        <pc:chgData name="Franz Muszarsky" userId="baa567244c442e54" providerId="LiveId" clId="{1302CEC5-2DD9-4CE2-A587-B20116F670C1}" dt="2024-01-07T17:16:50.495" v="4626" actId="47"/>
        <pc:sldMkLst>
          <pc:docMk/>
          <pc:sldMk cId="1604268377" sldId="526"/>
        </pc:sldMkLst>
        <pc:spChg chg="mod">
          <ac:chgData name="Franz Muszarsky" userId="baa567244c442e54" providerId="LiveId" clId="{1302CEC5-2DD9-4CE2-A587-B20116F670C1}" dt="2024-01-07T17:15:03.926" v="4604" actId="20577"/>
          <ac:spMkLst>
            <pc:docMk/>
            <pc:sldMk cId="1604268377" sldId="526"/>
            <ac:spMk id="2" creationId="{F3A5B303-FBE2-0B6C-F0B2-4C51190E583B}"/>
          </ac:spMkLst>
        </pc:spChg>
        <pc:spChg chg="mod">
          <ac:chgData name="Franz Muszarsky" userId="baa567244c442e54" providerId="LiveId" clId="{1302CEC5-2DD9-4CE2-A587-B20116F670C1}" dt="2024-01-07T17:15:35.409" v="4607" actId="164"/>
          <ac:spMkLst>
            <pc:docMk/>
            <pc:sldMk cId="1604268377" sldId="526"/>
            <ac:spMk id="31" creationId="{32CEC5B8-DDC6-BAA1-245F-8A8926BBF8F2}"/>
          </ac:spMkLst>
        </pc:spChg>
        <pc:spChg chg="mod">
          <ac:chgData name="Franz Muszarsky" userId="baa567244c442e54" providerId="LiveId" clId="{1302CEC5-2DD9-4CE2-A587-B20116F670C1}" dt="2024-01-07T17:15:35.409" v="4607" actId="164"/>
          <ac:spMkLst>
            <pc:docMk/>
            <pc:sldMk cId="1604268377" sldId="526"/>
            <ac:spMk id="70" creationId="{1E742322-064F-2CCC-0CC7-FC51DB767882}"/>
          </ac:spMkLst>
        </pc:spChg>
        <pc:spChg chg="mod">
          <ac:chgData name="Franz Muszarsky" userId="baa567244c442e54" providerId="LiveId" clId="{1302CEC5-2DD9-4CE2-A587-B20116F670C1}" dt="2024-01-07T17:15:35.409" v="4607" actId="164"/>
          <ac:spMkLst>
            <pc:docMk/>
            <pc:sldMk cId="1604268377" sldId="526"/>
            <ac:spMk id="72" creationId="{4E5AF55B-DD59-AD42-9421-4909FE416E45}"/>
          </ac:spMkLst>
        </pc:spChg>
        <pc:grpChg chg="add del mod">
          <ac:chgData name="Franz Muszarsky" userId="baa567244c442e54" providerId="LiveId" clId="{1302CEC5-2DD9-4CE2-A587-B20116F670C1}" dt="2024-01-07T17:16:48.211" v="4625" actId="478"/>
          <ac:grpSpMkLst>
            <pc:docMk/>
            <pc:sldMk cId="1604268377" sldId="526"/>
            <ac:grpSpMk id="4" creationId="{097294B2-FA29-2378-8300-C639306EFF21}"/>
          </ac:grpSpMkLst>
        </pc:grpChg>
        <pc:grpChg chg="mod">
          <ac:chgData name="Franz Muszarsky" userId="baa567244c442e54" providerId="LiveId" clId="{1302CEC5-2DD9-4CE2-A587-B20116F670C1}" dt="2024-01-07T17:15:35.409" v="4607" actId="164"/>
          <ac:grpSpMkLst>
            <pc:docMk/>
            <pc:sldMk cId="1604268377" sldId="526"/>
            <ac:grpSpMk id="41" creationId="{1BC58449-B45F-40A8-195E-FD8A9D55B46A}"/>
          </ac:grpSpMkLst>
        </pc:grpChg>
        <pc:grpChg chg="mod">
          <ac:chgData name="Franz Muszarsky" userId="baa567244c442e54" providerId="LiveId" clId="{1302CEC5-2DD9-4CE2-A587-B20116F670C1}" dt="2024-01-07T17:15:35.409" v="4607" actId="164"/>
          <ac:grpSpMkLst>
            <pc:docMk/>
            <pc:sldMk cId="1604268377" sldId="526"/>
            <ac:grpSpMk id="47" creationId="{FC143D0D-E694-49B5-B47F-9A5BBFA66612}"/>
          </ac:grpSpMkLst>
        </pc:grpChg>
        <pc:picChg chg="add del mod">
          <ac:chgData name="Franz Muszarsky" userId="baa567244c442e54" providerId="LiveId" clId="{1302CEC5-2DD9-4CE2-A587-B20116F670C1}" dt="2024-01-07T17:16:18.049" v="4616" actId="22"/>
          <ac:picMkLst>
            <pc:docMk/>
            <pc:sldMk cId="1604268377" sldId="526"/>
            <ac:picMk id="15" creationId="{CBC80602-D37C-5082-A0D6-485CC5095374}"/>
          </ac:picMkLst>
        </pc:picChg>
        <pc:picChg chg="mod">
          <ac:chgData name="Franz Muszarsky" userId="baa567244c442e54" providerId="LiveId" clId="{1302CEC5-2DD9-4CE2-A587-B20116F670C1}" dt="2024-01-07T17:15:35.409" v="4607" actId="164"/>
          <ac:picMkLst>
            <pc:docMk/>
            <pc:sldMk cId="1604268377" sldId="526"/>
            <ac:picMk id="60" creationId="{01ED36FC-7AF6-8FAA-23B9-699C0167B66A}"/>
          </ac:picMkLst>
        </pc:picChg>
        <pc:picChg chg="mod">
          <ac:chgData name="Franz Muszarsky" userId="baa567244c442e54" providerId="LiveId" clId="{1302CEC5-2DD9-4CE2-A587-B20116F670C1}" dt="2024-01-07T17:15:35.409" v="4607" actId="164"/>
          <ac:picMkLst>
            <pc:docMk/>
            <pc:sldMk cId="1604268377" sldId="526"/>
            <ac:picMk id="62" creationId="{445EC500-F8AF-E1D9-FFBF-8F16BFC5381E}"/>
          </ac:picMkLst>
        </pc:picChg>
      </pc:sldChg>
      <pc:sldChg chg="addSp delSp modSp add del mod">
        <pc:chgData name="Franz Muszarsky" userId="baa567244c442e54" providerId="LiveId" clId="{1302CEC5-2DD9-4CE2-A587-B20116F670C1}" dt="2024-01-07T17:43:42.338" v="5719" actId="47"/>
        <pc:sldMkLst>
          <pc:docMk/>
          <pc:sldMk cId="1481683488" sldId="527"/>
        </pc:sldMkLst>
        <pc:spChg chg="add mod">
          <ac:chgData name="Franz Muszarsky" userId="baa567244c442e54" providerId="LiveId" clId="{1302CEC5-2DD9-4CE2-A587-B20116F670C1}" dt="2024-01-07T17:37:14.120" v="5438" actId="20577"/>
          <ac:spMkLst>
            <pc:docMk/>
            <pc:sldMk cId="1481683488" sldId="527"/>
            <ac:spMk id="3" creationId="{974E7A89-59C0-01B4-62B1-CCEDA9D30FA0}"/>
          </ac:spMkLst>
        </pc:spChg>
        <pc:spChg chg="del">
          <ac:chgData name="Franz Muszarsky" userId="baa567244c442e54" providerId="LiveId" clId="{1302CEC5-2DD9-4CE2-A587-B20116F670C1}" dt="2024-01-07T17:27:54.672" v="4988" actId="478"/>
          <ac:spMkLst>
            <pc:docMk/>
            <pc:sldMk cId="1481683488" sldId="527"/>
            <ac:spMk id="27" creationId="{144EF408-4ACF-FE78-6D51-99E30A8CCFB5}"/>
          </ac:spMkLst>
        </pc:spChg>
        <pc:spChg chg="del">
          <ac:chgData name="Franz Muszarsky" userId="baa567244c442e54" providerId="LiveId" clId="{1302CEC5-2DD9-4CE2-A587-B20116F670C1}" dt="2024-01-07T17:27:54.672" v="4988" actId="478"/>
          <ac:spMkLst>
            <pc:docMk/>
            <pc:sldMk cId="1481683488" sldId="527"/>
            <ac:spMk id="28" creationId="{8DA951FC-0CA6-737D-9C65-F8C3CACC50A0}"/>
          </ac:spMkLst>
        </pc:spChg>
        <pc:spChg chg="del">
          <ac:chgData name="Franz Muszarsky" userId="baa567244c442e54" providerId="LiveId" clId="{1302CEC5-2DD9-4CE2-A587-B20116F670C1}" dt="2024-01-07T17:27:54.672" v="4988" actId="478"/>
          <ac:spMkLst>
            <pc:docMk/>
            <pc:sldMk cId="1481683488" sldId="527"/>
            <ac:spMk id="29" creationId="{21DE7C20-20F2-F11B-3FE7-0DA4F9F36928}"/>
          </ac:spMkLst>
        </pc:spChg>
        <pc:spChg chg="del">
          <ac:chgData name="Franz Muszarsky" userId="baa567244c442e54" providerId="LiveId" clId="{1302CEC5-2DD9-4CE2-A587-B20116F670C1}" dt="2024-01-07T17:27:54.672" v="4988" actId="478"/>
          <ac:spMkLst>
            <pc:docMk/>
            <pc:sldMk cId="1481683488" sldId="527"/>
            <ac:spMk id="49" creationId="{CD9AECF1-CCEC-828F-C56A-6F2C33C82C55}"/>
          </ac:spMkLst>
        </pc:spChg>
        <pc:spChg chg="del">
          <ac:chgData name="Franz Muszarsky" userId="baa567244c442e54" providerId="LiveId" clId="{1302CEC5-2DD9-4CE2-A587-B20116F670C1}" dt="2024-01-07T17:27:54.672" v="4988" actId="478"/>
          <ac:spMkLst>
            <pc:docMk/>
            <pc:sldMk cId="1481683488" sldId="527"/>
            <ac:spMk id="50" creationId="{35820D26-7DB9-6D10-0E15-E1E1BEBC52B3}"/>
          </ac:spMkLst>
        </pc:spChg>
        <pc:spChg chg="mod">
          <ac:chgData name="Franz Muszarsky" userId="baa567244c442e54" providerId="LiveId" clId="{1302CEC5-2DD9-4CE2-A587-B20116F670C1}" dt="2024-01-07T17:27:49.257" v="4987" actId="20577"/>
          <ac:spMkLst>
            <pc:docMk/>
            <pc:sldMk cId="1481683488" sldId="527"/>
            <ac:spMk id="101" creationId="{13E66FF1-E53A-9FC8-81E5-48EBF7B54F63}"/>
          </ac:spMkLst>
        </pc:spChg>
        <pc:spChg chg="mod">
          <ac:chgData name="Franz Muszarsky" userId="baa567244c442e54" providerId="LiveId" clId="{1302CEC5-2DD9-4CE2-A587-B20116F670C1}" dt="2024-01-07T17:31:19.138" v="5108" actId="1076"/>
          <ac:spMkLst>
            <pc:docMk/>
            <pc:sldMk cId="1481683488" sldId="527"/>
            <ac:spMk id="102" creationId="{0402D234-43C3-4A81-A5DE-722E3E0DABF0}"/>
          </ac:spMkLst>
        </pc:spChg>
        <pc:graphicFrameChg chg="del">
          <ac:chgData name="Franz Muszarsky" userId="baa567244c442e54" providerId="LiveId" clId="{1302CEC5-2DD9-4CE2-A587-B20116F670C1}" dt="2024-01-07T17:27:54.672" v="4988" actId="478"/>
          <ac:graphicFrameMkLst>
            <pc:docMk/>
            <pc:sldMk cId="1481683488" sldId="527"/>
            <ac:graphicFrameMk id="33" creationId="{F0960C92-D203-623C-433A-A44A11A358B2}"/>
          </ac:graphicFrameMkLst>
        </pc:graphicFrameChg>
        <pc:picChg chg="del">
          <ac:chgData name="Franz Muszarsky" userId="baa567244c442e54" providerId="LiveId" clId="{1302CEC5-2DD9-4CE2-A587-B20116F670C1}" dt="2024-01-07T17:27:54.672" v="4988" actId="478"/>
          <ac:picMkLst>
            <pc:docMk/>
            <pc:sldMk cId="1481683488" sldId="527"/>
            <ac:picMk id="35" creationId="{0D4B750F-C264-E66F-63B5-6D6003313314}"/>
          </ac:picMkLst>
        </pc:picChg>
        <pc:picChg chg="del">
          <ac:chgData name="Franz Muszarsky" userId="baa567244c442e54" providerId="LiveId" clId="{1302CEC5-2DD9-4CE2-A587-B20116F670C1}" dt="2024-01-07T17:27:54.672" v="4988" actId="478"/>
          <ac:picMkLst>
            <pc:docMk/>
            <pc:sldMk cId="1481683488" sldId="527"/>
            <ac:picMk id="41" creationId="{4D30C6DD-ACFB-4149-2127-2E516D9ABF22}"/>
          </ac:picMkLst>
        </pc:picChg>
        <pc:picChg chg="del">
          <ac:chgData name="Franz Muszarsky" userId="baa567244c442e54" providerId="LiveId" clId="{1302CEC5-2DD9-4CE2-A587-B20116F670C1}" dt="2024-01-07T17:27:54.672" v="4988" actId="478"/>
          <ac:picMkLst>
            <pc:docMk/>
            <pc:sldMk cId="1481683488" sldId="527"/>
            <ac:picMk id="42" creationId="{523CB1A2-EA05-60BA-B311-F81E012DA06B}"/>
          </ac:picMkLst>
        </pc:picChg>
        <pc:picChg chg="del">
          <ac:chgData name="Franz Muszarsky" userId="baa567244c442e54" providerId="LiveId" clId="{1302CEC5-2DD9-4CE2-A587-B20116F670C1}" dt="2024-01-07T17:27:54.672" v="4988" actId="478"/>
          <ac:picMkLst>
            <pc:docMk/>
            <pc:sldMk cId="1481683488" sldId="527"/>
            <ac:picMk id="43" creationId="{8C065F5E-6C79-E403-3572-866CCA128BE6}"/>
          </ac:picMkLst>
        </pc:picChg>
        <pc:picChg chg="del">
          <ac:chgData name="Franz Muszarsky" userId="baa567244c442e54" providerId="LiveId" clId="{1302CEC5-2DD9-4CE2-A587-B20116F670C1}" dt="2024-01-07T17:27:54.672" v="4988" actId="478"/>
          <ac:picMkLst>
            <pc:docMk/>
            <pc:sldMk cId="1481683488" sldId="527"/>
            <ac:picMk id="44" creationId="{73361F99-43AA-90B8-B8AC-BD2AD3965E42}"/>
          </ac:picMkLst>
        </pc:picChg>
        <pc:picChg chg="del">
          <ac:chgData name="Franz Muszarsky" userId="baa567244c442e54" providerId="LiveId" clId="{1302CEC5-2DD9-4CE2-A587-B20116F670C1}" dt="2024-01-07T17:27:54.672" v="4988" actId="478"/>
          <ac:picMkLst>
            <pc:docMk/>
            <pc:sldMk cId="1481683488" sldId="527"/>
            <ac:picMk id="45" creationId="{5EE5F210-47EE-E0D0-EE7C-D9BB5553277B}"/>
          </ac:picMkLst>
        </pc:picChg>
        <pc:picChg chg="del">
          <ac:chgData name="Franz Muszarsky" userId="baa567244c442e54" providerId="LiveId" clId="{1302CEC5-2DD9-4CE2-A587-B20116F670C1}" dt="2024-01-07T17:27:54.672" v="4988" actId="478"/>
          <ac:picMkLst>
            <pc:docMk/>
            <pc:sldMk cId="1481683488" sldId="527"/>
            <ac:picMk id="46" creationId="{662ABEA6-B4EF-E359-3A5B-4A59F367C174}"/>
          </ac:picMkLst>
        </pc:picChg>
        <pc:cxnChg chg="del">
          <ac:chgData name="Franz Muszarsky" userId="baa567244c442e54" providerId="LiveId" clId="{1302CEC5-2DD9-4CE2-A587-B20116F670C1}" dt="2024-01-07T17:27:54.672" v="4988" actId="478"/>
          <ac:cxnSpMkLst>
            <pc:docMk/>
            <pc:sldMk cId="1481683488" sldId="527"/>
            <ac:cxnSpMk id="48" creationId="{B7B1C97C-7F41-F325-6921-3BF648F30A26}"/>
          </ac:cxnSpMkLst>
        </pc:cxnChg>
      </pc:sldChg>
      <pc:sldChg chg="add del">
        <pc:chgData name="Franz Muszarsky" userId="baa567244c442e54" providerId="LiveId" clId="{1302CEC5-2DD9-4CE2-A587-B20116F670C1}" dt="2024-01-07T17:26:33.474" v="4929" actId="47"/>
        <pc:sldMkLst>
          <pc:docMk/>
          <pc:sldMk cId="3119735167" sldId="527"/>
        </pc:sldMkLst>
      </pc:sldChg>
      <pc:sldChg chg="modSp add del mod">
        <pc:chgData name="Franz Muszarsky" userId="baa567244c442e54" providerId="LiveId" clId="{1302CEC5-2DD9-4CE2-A587-B20116F670C1}" dt="2024-01-07T17:41:57.197" v="5640" actId="47"/>
        <pc:sldMkLst>
          <pc:docMk/>
          <pc:sldMk cId="1853810673" sldId="528"/>
        </pc:sldMkLst>
        <pc:spChg chg="mod">
          <ac:chgData name="Franz Muszarsky" userId="baa567244c442e54" providerId="LiveId" clId="{1302CEC5-2DD9-4CE2-A587-B20116F670C1}" dt="2024-01-07T17:37:50.190" v="5588" actId="20577"/>
          <ac:spMkLst>
            <pc:docMk/>
            <pc:sldMk cId="1853810673" sldId="528"/>
            <ac:spMk id="2" creationId="{F3A5B303-FBE2-0B6C-F0B2-4C51190E583B}"/>
          </ac:spMkLst>
        </pc:spChg>
        <pc:spChg chg="mod">
          <ac:chgData name="Franz Muszarsky" userId="baa567244c442e54" providerId="LiveId" clId="{1302CEC5-2DD9-4CE2-A587-B20116F670C1}" dt="2024-01-07T17:35:44.732" v="5174" actId="20577"/>
          <ac:spMkLst>
            <pc:docMk/>
            <pc:sldMk cId="1853810673" sldId="528"/>
            <ac:spMk id="3" creationId="{043BE14F-CDF5-7A5E-86AD-B1C907529C7D}"/>
          </ac:spMkLst>
        </pc:spChg>
      </pc:sldChg>
      <pc:sldChg chg="addSp delSp modSp add mod ord modTransition">
        <pc:chgData name="Franz Muszarsky" userId="baa567244c442e54" providerId="LiveId" clId="{1302CEC5-2DD9-4CE2-A587-B20116F670C1}" dt="2024-01-07T17:58:13.340" v="5971" actId="1076"/>
        <pc:sldMkLst>
          <pc:docMk/>
          <pc:sldMk cId="3171925523" sldId="529"/>
        </pc:sldMkLst>
        <pc:spChg chg="mod">
          <ac:chgData name="Franz Muszarsky" userId="baa567244c442e54" providerId="LiveId" clId="{1302CEC5-2DD9-4CE2-A587-B20116F670C1}" dt="2024-01-07T17:38:46.785" v="5609" actId="20577"/>
          <ac:spMkLst>
            <pc:docMk/>
            <pc:sldMk cId="3171925523" sldId="529"/>
            <ac:spMk id="2" creationId="{F3A5B303-FBE2-0B6C-F0B2-4C51190E583B}"/>
          </ac:spMkLst>
        </pc:spChg>
        <pc:spChg chg="mod">
          <ac:chgData name="Franz Muszarsky" userId="baa567244c442e54" providerId="LiveId" clId="{1302CEC5-2DD9-4CE2-A587-B20116F670C1}" dt="2024-01-07T17:38:38.397" v="5605" actId="20577"/>
          <ac:spMkLst>
            <pc:docMk/>
            <pc:sldMk cId="3171925523" sldId="529"/>
            <ac:spMk id="3" creationId="{043BE14F-CDF5-7A5E-86AD-B1C907529C7D}"/>
          </ac:spMkLst>
        </pc:spChg>
        <pc:spChg chg="add del mod">
          <ac:chgData name="Franz Muszarsky" userId="baa567244c442e54" providerId="LiveId" clId="{1302CEC5-2DD9-4CE2-A587-B20116F670C1}" dt="2024-01-07T17:41:52.750" v="5639" actId="478"/>
          <ac:spMkLst>
            <pc:docMk/>
            <pc:sldMk cId="3171925523" sldId="529"/>
            <ac:spMk id="4" creationId="{174C170E-6F36-0A90-43C0-99C34BACE83C}"/>
          </ac:spMkLst>
        </pc:spChg>
        <pc:spChg chg="del">
          <ac:chgData name="Franz Muszarsky" userId="baa567244c442e54" providerId="LiveId" clId="{1302CEC5-2DD9-4CE2-A587-B20116F670C1}" dt="2024-01-07T17:38:53.582" v="5610" actId="478"/>
          <ac:spMkLst>
            <pc:docMk/>
            <pc:sldMk cId="3171925523" sldId="529"/>
            <ac:spMk id="31" creationId="{32CEC5B8-DDC6-BAA1-245F-8A8926BBF8F2}"/>
          </ac:spMkLst>
        </pc:spChg>
        <pc:spChg chg="mod">
          <ac:chgData name="Franz Muszarsky" userId="baa567244c442e54" providerId="LiveId" clId="{1302CEC5-2DD9-4CE2-A587-B20116F670C1}" dt="2024-01-07T17:41:20.964" v="5630" actId="207"/>
          <ac:spMkLst>
            <pc:docMk/>
            <pc:sldMk cId="3171925523" sldId="529"/>
            <ac:spMk id="43" creationId="{D00747F0-8159-FEF0-3C71-FCE4D8BB9796}"/>
          </ac:spMkLst>
        </pc:spChg>
        <pc:spChg chg="mod">
          <ac:chgData name="Franz Muszarsky" userId="baa567244c442e54" providerId="LiveId" clId="{1302CEC5-2DD9-4CE2-A587-B20116F670C1}" dt="2024-01-07T17:41:25.725" v="5632" actId="207"/>
          <ac:spMkLst>
            <pc:docMk/>
            <pc:sldMk cId="3171925523" sldId="529"/>
            <ac:spMk id="44" creationId="{36F7C813-90BF-9048-ADD0-A82276D06C29}"/>
          </ac:spMkLst>
        </pc:spChg>
        <pc:spChg chg="del">
          <ac:chgData name="Franz Muszarsky" userId="baa567244c442e54" providerId="LiveId" clId="{1302CEC5-2DD9-4CE2-A587-B20116F670C1}" dt="2024-01-07T17:38:56.846" v="5611" actId="478"/>
          <ac:spMkLst>
            <pc:docMk/>
            <pc:sldMk cId="3171925523" sldId="529"/>
            <ac:spMk id="45" creationId="{579C312E-5A98-9292-4E94-C37BDD9FE893}"/>
          </ac:spMkLst>
        </pc:spChg>
        <pc:spChg chg="mod">
          <ac:chgData name="Franz Muszarsky" userId="baa567244c442e54" providerId="LiveId" clId="{1302CEC5-2DD9-4CE2-A587-B20116F670C1}" dt="2024-01-07T17:41:43.455" v="5635" actId="207"/>
          <ac:spMkLst>
            <pc:docMk/>
            <pc:sldMk cId="3171925523" sldId="529"/>
            <ac:spMk id="48" creationId="{31985CC6-F3E9-2BA3-6719-EA64A2F89E3F}"/>
          </ac:spMkLst>
        </pc:spChg>
        <pc:spChg chg="mod">
          <ac:chgData name="Franz Muszarsky" userId="baa567244c442e54" providerId="LiveId" clId="{1302CEC5-2DD9-4CE2-A587-B20116F670C1}" dt="2024-01-07T17:41:45.949" v="5636" actId="207"/>
          <ac:spMkLst>
            <pc:docMk/>
            <pc:sldMk cId="3171925523" sldId="529"/>
            <ac:spMk id="49" creationId="{729729EE-E3EB-D38F-5E85-ED0B7B16C4E3}"/>
          </ac:spMkLst>
        </pc:spChg>
        <pc:spChg chg="mod">
          <ac:chgData name="Franz Muszarsky" userId="baa567244c442e54" providerId="LiveId" clId="{1302CEC5-2DD9-4CE2-A587-B20116F670C1}" dt="2024-01-07T17:41:43.455" v="5635" actId="207"/>
          <ac:spMkLst>
            <pc:docMk/>
            <pc:sldMk cId="3171925523" sldId="529"/>
            <ac:spMk id="50" creationId="{DB307EA9-317E-2F43-9C94-66EDF499BBD6}"/>
          </ac:spMkLst>
        </pc:spChg>
        <pc:spChg chg="mod">
          <ac:chgData name="Franz Muszarsky" userId="baa567244c442e54" providerId="LiveId" clId="{1302CEC5-2DD9-4CE2-A587-B20116F670C1}" dt="2024-01-07T17:41:43.455" v="5635" actId="207"/>
          <ac:spMkLst>
            <pc:docMk/>
            <pc:sldMk cId="3171925523" sldId="529"/>
            <ac:spMk id="51" creationId="{77585DEE-E8AC-A124-C749-F999FE301092}"/>
          </ac:spMkLst>
        </pc:spChg>
        <pc:spChg chg="mod">
          <ac:chgData name="Franz Muszarsky" userId="baa567244c442e54" providerId="LiveId" clId="{1302CEC5-2DD9-4CE2-A587-B20116F670C1}" dt="2024-01-07T17:58:13.340" v="5971" actId="1076"/>
          <ac:spMkLst>
            <pc:docMk/>
            <pc:sldMk cId="3171925523" sldId="529"/>
            <ac:spMk id="70" creationId="{1E742322-064F-2CCC-0CC7-FC51DB767882}"/>
          </ac:spMkLst>
        </pc:spChg>
        <pc:spChg chg="mod">
          <ac:chgData name="Franz Muszarsky" userId="baa567244c442e54" providerId="LiveId" clId="{1302CEC5-2DD9-4CE2-A587-B20116F670C1}" dt="2024-01-07T17:58:13.340" v="5971" actId="1076"/>
          <ac:spMkLst>
            <pc:docMk/>
            <pc:sldMk cId="3171925523" sldId="529"/>
            <ac:spMk id="72" creationId="{4E5AF55B-DD59-AD42-9421-4909FE416E45}"/>
          </ac:spMkLst>
        </pc:spChg>
        <pc:grpChg chg="mod">
          <ac:chgData name="Franz Muszarsky" userId="baa567244c442e54" providerId="LiveId" clId="{1302CEC5-2DD9-4CE2-A587-B20116F670C1}" dt="2024-01-07T17:58:13.340" v="5971" actId="1076"/>
          <ac:grpSpMkLst>
            <pc:docMk/>
            <pc:sldMk cId="3171925523" sldId="529"/>
            <ac:grpSpMk id="41" creationId="{1BC58449-B45F-40A8-195E-FD8A9D55B46A}"/>
          </ac:grpSpMkLst>
        </pc:grpChg>
        <pc:grpChg chg="mod topLvl">
          <ac:chgData name="Franz Muszarsky" userId="baa567244c442e54" providerId="LiveId" clId="{1302CEC5-2DD9-4CE2-A587-B20116F670C1}" dt="2024-01-07T17:58:13.340" v="5971" actId="1076"/>
          <ac:grpSpMkLst>
            <pc:docMk/>
            <pc:sldMk cId="3171925523" sldId="529"/>
            <ac:grpSpMk id="47" creationId="{FC143D0D-E694-49B5-B47F-9A5BBFA66612}"/>
          </ac:grpSpMkLst>
        </pc:grpChg>
        <pc:grpChg chg="del">
          <ac:chgData name="Franz Muszarsky" userId="baa567244c442e54" providerId="LiveId" clId="{1302CEC5-2DD9-4CE2-A587-B20116F670C1}" dt="2024-01-07T17:39:02.520" v="5613" actId="478"/>
          <ac:grpSpMkLst>
            <pc:docMk/>
            <pc:sldMk cId="3171925523" sldId="529"/>
            <ac:grpSpMk id="73" creationId="{2397A5F0-0AC7-7E1D-CBB0-BCEDE755AFFF}"/>
          </ac:grpSpMkLst>
        </pc:grpChg>
        <pc:picChg chg="add mod">
          <ac:chgData name="Franz Muszarsky" userId="baa567244c442e54" providerId="LiveId" clId="{1302CEC5-2DD9-4CE2-A587-B20116F670C1}" dt="2024-01-07T17:58:13.340" v="5971" actId="1076"/>
          <ac:picMkLst>
            <pc:docMk/>
            <pc:sldMk cId="3171925523" sldId="529"/>
            <ac:picMk id="15" creationId="{E99B9EC7-CF3C-E99B-2F9D-57D6C986B43C}"/>
          </ac:picMkLst>
        </pc:picChg>
        <pc:picChg chg="add mod">
          <ac:chgData name="Franz Muszarsky" userId="baa567244c442e54" providerId="LiveId" clId="{1302CEC5-2DD9-4CE2-A587-B20116F670C1}" dt="2024-01-07T17:58:13.340" v="5971" actId="1076"/>
          <ac:picMkLst>
            <pc:docMk/>
            <pc:sldMk cId="3171925523" sldId="529"/>
            <ac:picMk id="17" creationId="{347A4F65-CC16-E1C8-5DB2-534515F7CF0B}"/>
          </ac:picMkLst>
        </pc:picChg>
        <pc:picChg chg="del">
          <ac:chgData name="Franz Muszarsky" userId="baa567244c442e54" providerId="LiveId" clId="{1302CEC5-2DD9-4CE2-A587-B20116F670C1}" dt="2024-01-07T17:38:59.977" v="5612" actId="478"/>
          <ac:picMkLst>
            <pc:docMk/>
            <pc:sldMk cId="3171925523" sldId="529"/>
            <ac:picMk id="60" creationId="{01ED36FC-7AF6-8FAA-23B9-699C0167B66A}"/>
          </ac:picMkLst>
        </pc:picChg>
        <pc:picChg chg="del topLvl">
          <ac:chgData name="Franz Muszarsky" userId="baa567244c442e54" providerId="LiveId" clId="{1302CEC5-2DD9-4CE2-A587-B20116F670C1}" dt="2024-01-07T17:39:02.520" v="5613" actId="478"/>
          <ac:picMkLst>
            <pc:docMk/>
            <pc:sldMk cId="3171925523" sldId="529"/>
            <ac:picMk id="62" creationId="{445EC500-F8AF-E1D9-FFBF-8F16BFC5381E}"/>
          </ac:picMkLst>
        </pc:picChg>
      </pc:sldChg>
      <pc:sldChg chg="addSp delSp modSp add mod ord delAnim modAnim">
        <pc:chgData name="Franz Muszarsky" userId="baa567244c442e54" providerId="LiveId" clId="{1302CEC5-2DD9-4CE2-A587-B20116F670C1}" dt="2024-01-07T19:38:08.208" v="6054" actId="14100"/>
        <pc:sldMkLst>
          <pc:docMk/>
          <pc:sldMk cId="1014323027" sldId="530"/>
        </pc:sldMkLst>
        <pc:spChg chg="add mod">
          <ac:chgData name="Franz Muszarsky" userId="baa567244c442e54" providerId="LiveId" clId="{1302CEC5-2DD9-4CE2-A587-B20116F670C1}" dt="2024-01-07T19:37:17.823" v="6044"/>
          <ac:spMkLst>
            <pc:docMk/>
            <pc:sldMk cId="1014323027" sldId="530"/>
            <ac:spMk id="3" creationId="{BF90E714-4E76-642B-E1C6-1220157283D2}"/>
          </ac:spMkLst>
        </pc:spChg>
        <pc:spChg chg="del">
          <ac:chgData name="Franz Muszarsky" userId="baa567244c442e54" providerId="LiveId" clId="{1302CEC5-2DD9-4CE2-A587-B20116F670C1}" dt="2024-01-07T19:37:17.216" v="6043" actId="478"/>
          <ac:spMkLst>
            <pc:docMk/>
            <pc:sldMk cId="1014323027" sldId="530"/>
            <ac:spMk id="4" creationId="{BE5D827A-9D21-569D-37C4-E1A7DA3BCC60}"/>
          </ac:spMkLst>
        </pc:spChg>
        <pc:spChg chg="mod">
          <ac:chgData name="Franz Muszarsky" userId="baa567244c442e54" providerId="LiveId" clId="{1302CEC5-2DD9-4CE2-A587-B20116F670C1}" dt="2024-01-07T19:37:17.823" v="6044"/>
          <ac:spMkLst>
            <pc:docMk/>
            <pc:sldMk cId="1014323027" sldId="530"/>
            <ac:spMk id="10" creationId="{FDD57E79-ED58-19D8-5A77-2E7E232D0B54}"/>
          </ac:spMkLst>
        </pc:spChg>
        <pc:spChg chg="mod">
          <ac:chgData name="Franz Muszarsky" userId="baa567244c442e54" providerId="LiveId" clId="{1302CEC5-2DD9-4CE2-A587-B20116F670C1}" dt="2024-01-07T19:37:17.823" v="6044"/>
          <ac:spMkLst>
            <pc:docMk/>
            <pc:sldMk cId="1014323027" sldId="530"/>
            <ac:spMk id="11" creationId="{A33BFC2A-73CB-1394-0184-097929942B71}"/>
          </ac:spMkLst>
        </pc:spChg>
        <pc:spChg chg="mod">
          <ac:chgData name="Franz Muszarsky" userId="baa567244c442e54" providerId="LiveId" clId="{1302CEC5-2DD9-4CE2-A587-B20116F670C1}" dt="2024-01-07T19:37:17.823" v="6044"/>
          <ac:spMkLst>
            <pc:docMk/>
            <pc:sldMk cId="1014323027" sldId="530"/>
            <ac:spMk id="13" creationId="{DE94224E-4490-15F4-15EF-98946BC4841A}"/>
          </ac:spMkLst>
        </pc:spChg>
        <pc:spChg chg="mod">
          <ac:chgData name="Franz Muszarsky" userId="baa567244c442e54" providerId="LiveId" clId="{1302CEC5-2DD9-4CE2-A587-B20116F670C1}" dt="2024-01-07T19:37:17.823" v="6044"/>
          <ac:spMkLst>
            <pc:docMk/>
            <pc:sldMk cId="1014323027" sldId="530"/>
            <ac:spMk id="14" creationId="{32C125A4-199E-B125-ECFF-25A068ED16CD}"/>
          </ac:spMkLst>
        </pc:spChg>
        <pc:spChg chg="mod">
          <ac:chgData name="Franz Muszarsky" userId="baa567244c442e54" providerId="LiveId" clId="{1302CEC5-2DD9-4CE2-A587-B20116F670C1}" dt="2024-01-07T19:37:17.823" v="6044"/>
          <ac:spMkLst>
            <pc:docMk/>
            <pc:sldMk cId="1014323027" sldId="530"/>
            <ac:spMk id="15" creationId="{7909AB04-CC3B-2B9E-729C-B156BABE977A}"/>
          </ac:spMkLst>
        </pc:spChg>
        <pc:spChg chg="add mod">
          <ac:chgData name="Franz Muszarsky" userId="baa567244c442e54" providerId="LiveId" clId="{1302CEC5-2DD9-4CE2-A587-B20116F670C1}" dt="2024-01-07T19:37:17.823" v="6044"/>
          <ac:spMkLst>
            <pc:docMk/>
            <pc:sldMk cId="1014323027" sldId="530"/>
            <ac:spMk id="16" creationId="{46A1B3F3-2368-394B-1E44-31C9A5F67C95}"/>
          </ac:spMkLst>
        </pc:spChg>
        <pc:spChg chg="mod">
          <ac:chgData name="Franz Muszarsky" userId="baa567244c442e54" providerId="LiveId" clId="{1302CEC5-2DD9-4CE2-A587-B20116F670C1}" dt="2024-01-07T19:36:22.498" v="5996" actId="20577"/>
          <ac:spMkLst>
            <pc:docMk/>
            <pc:sldMk cId="1014323027" sldId="530"/>
            <ac:spMk id="101" creationId="{13E66FF1-E53A-9FC8-81E5-48EBF7B54F63}"/>
          </ac:spMkLst>
        </pc:spChg>
        <pc:spChg chg="mod">
          <ac:chgData name="Franz Muszarsky" userId="baa567244c442e54" providerId="LiveId" clId="{1302CEC5-2DD9-4CE2-A587-B20116F670C1}" dt="2024-01-07T19:36:27.628" v="6003" actId="6549"/>
          <ac:spMkLst>
            <pc:docMk/>
            <pc:sldMk cId="1014323027" sldId="530"/>
            <ac:spMk id="102" creationId="{0402D234-43C3-4A81-A5DE-722E3E0DABF0}"/>
          </ac:spMkLst>
        </pc:spChg>
        <pc:grpChg chg="del">
          <ac:chgData name="Franz Muszarsky" userId="baa567244c442e54" providerId="LiveId" clId="{1302CEC5-2DD9-4CE2-A587-B20116F670C1}" dt="2024-01-07T19:37:17.216" v="6043" actId="478"/>
          <ac:grpSpMkLst>
            <pc:docMk/>
            <pc:sldMk cId="1014323027" sldId="530"/>
            <ac:grpSpMk id="5" creationId="{86BA8234-4CDB-C145-B8FE-B7E1B9EA8A2C}"/>
          </ac:grpSpMkLst>
        </pc:grpChg>
        <pc:grpChg chg="add mod">
          <ac:chgData name="Franz Muszarsky" userId="baa567244c442e54" providerId="LiveId" clId="{1302CEC5-2DD9-4CE2-A587-B20116F670C1}" dt="2024-01-07T19:37:17.823" v="6044"/>
          <ac:grpSpMkLst>
            <pc:docMk/>
            <pc:sldMk cId="1014323027" sldId="530"/>
            <ac:grpSpMk id="9" creationId="{950F4A08-663E-0A87-E8AC-E2F6DFA4E07D}"/>
          </ac:grpSpMkLst>
        </pc:grpChg>
        <pc:grpChg chg="mod">
          <ac:chgData name="Franz Muszarsky" userId="baa567244c442e54" providerId="LiveId" clId="{1302CEC5-2DD9-4CE2-A587-B20116F670C1}" dt="2024-01-07T19:37:17.823" v="6044"/>
          <ac:grpSpMkLst>
            <pc:docMk/>
            <pc:sldMk cId="1014323027" sldId="530"/>
            <ac:grpSpMk id="12" creationId="{2D0F594B-12F7-33FD-1794-B14696632ACD}"/>
          </ac:grpSpMkLst>
        </pc:grpChg>
        <pc:picChg chg="del">
          <ac:chgData name="Franz Muszarsky" userId="baa567244c442e54" providerId="LiveId" clId="{1302CEC5-2DD9-4CE2-A587-B20116F670C1}" dt="2024-01-07T19:36:53.880" v="6025" actId="478"/>
          <ac:picMkLst>
            <pc:docMk/>
            <pc:sldMk cId="1014323027" sldId="530"/>
            <ac:picMk id="2" creationId="{FA1FDCC5-6B79-41AD-CBD5-F40FD5D42772}"/>
          </ac:picMkLst>
        </pc:picChg>
        <pc:picChg chg="del">
          <ac:chgData name="Franz Muszarsky" userId="baa567244c442e54" providerId="LiveId" clId="{1302CEC5-2DD9-4CE2-A587-B20116F670C1}" dt="2024-01-07T19:37:17.216" v="6043" actId="478"/>
          <ac:picMkLst>
            <pc:docMk/>
            <pc:sldMk cId="1014323027" sldId="530"/>
            <ac:picMk id="17" creationId="{19A519A0-ECA7-6B28-D647-66F5CB26EAF3}"/>
          </ac:picMkLst>
        </pc:picChg>
        <pc:picChg chg="add mod">
          <ac:chgData name="Franz Muszarsky" userId="baa567244c442e54" providerId="LiveId" clId="{1302CEC5-2DD9-4CE2-A587-B20116F670C1}" dt="2024-01-07T19:38:08.208" v="6054" actId="14100"/>
          <ac:picMkLst>
            <pc:docMk/>
            <pc:sldMk cId="1014323027" sldId="530"/>
            <ac:picMk id="18" creationId="{BF85C672-10F9-01EF-59D3-9007DA558174}"/>
          </ac:picMkLst>
        </pc:picChg>
      </pc:sldChg>
      <pc:sldChg chg="modSp add del mod">
        <pc:chgData name="Franz Muszarsky" userId="baa567244c442e54" providerId="LiveId" clId="{1302CEC5-2DD9-4CE2-A587-B20116F670C1}" dt="2024-01-07T19:37:23.260" v="6046" actId="47"/>
        <pc:sldMkLst>
          <pc:docMk/>
          <pc:sldMk cId="3348027312" sldId="531"/>
        </pc:sldMkLst>
        <pc:spChg chg="mod">
          <ac:chgData name="Franz Muszarsky" userId="baa567244c442e54" providerId="LiveId" clId="{1302CEC5-2DD9-4CE2-A587-B20116F670C1}" dt="2024-01-07T19:37:04.281" v="6042" actId="20577"/>
          <ac:spMkLst>
            <pc:docMk/>
            <pc:sldMk cId="3348027312" sldId="531"/>
            <ac:spMk id="102" creationId="{0402D234-43C3-4A81-A5DE-722E3E0DABF0}"/>
          </ac:spMkLst>
        </pc:spChg>
      </pc:sldChg>
      <pc:sldChg chg="addSp modSp add mod modAnim">
        <pc:chgData name="Franz Muszarsky" userId="baa567244c442e54" providerId="LiveId" clId="{1302CEC5-2DD9-4CE2-A587-B20116F670C1}" dt="2024-01-07T19:38:25.376" v="6056" actId="14100"/>
        <pc:sldMkLst>
          <pc:docMk/>
          <pc:sldMk cId="2645613671" sldId="532"/>
        </pc:sldMkLst>
        <pc:spChg chg="mod">
          <ac:chgData name="Franz Muszarsky" userId="baa567244c442e54" providerId="LiveId" clId="{1302CEC5-2DD9-4CE2-A587-B20116F670C1}" dt="2024-01-07T19:37:27.429" v="6052" actId="20577"/>
          <ac:spMkLst>
            <pc:docMk/>
            <pc:sldMk cId="2645613671" sldId="532"/>
            <ac:spMk id="102" creationId="{0402D234-43C3-4A81-A5DE-722E3E0DABF0}"/>
          </ac:spMkLst>
        </pc:spChg>
        <pc:picChg chg="add mod">
          <ac:chgData name="Franz Muszarsky" userId="baa567244c442e54" providerId="LiveId" clId="{1302CEC5-2DD9-4CE2-A587-B20116F670C1}" dt="2024-01-07T19:38:25.376" v="6056" actId="14100"/>
          <ac:picMkLst>
            <pc:docMk/>
            <pc:sldMk cId="2645613671" sldId="532"/>
            <ac:picMk id="2" creationId="{9DB2602E-49F6-C73B-B31D-A2A48CF14593}"/>
          </ac:picMkLst>
        </pc:picChg>
      </pc:sldChg>
      <pc:sldMasterChg chg="modSp mod">
        <pc:chgData name="Franz Muszarsky" userId="baa567244c442e54" providerId="LiveId" clId="{1302CEC5-2DD9-4CE2-A587-B20116F670C1}" dt="2024-01-07T19:40:03.115" v="6057" actId="20577"/>
        <pc:sldMasterMkLst>
          <pc:docMk/>
          <pc:sldMasterMk cId="27304634" sldId="2147483660"/>
        </pc:sldMasterMkLst>
        <pc:spChg chg="mod">
          <ac:chgData name="Franz Muszarsky" userId="baa567244c442e54" providerId="LiveId" clId="{1302CEC5-2DD9-4CE2-A587-B20116F670C1}" dt="2024-01-07T19:40:03.115" v="6057" actId="20577"/>
          <ac:spMkLst>
            <pc:docMk/>
            <pc:sldMasterMk cId="27304634" sldId="2147483660"/>
            <ac:spMk id="15" creationId="{00000000-0000-0000-0000-000000000000}"/>
          </ac:spMkLst>
        </pc:sp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1AD182-A6EC-4D44-BC17-2519D80664E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C945879-8AD2-472F-9840-E68DD99192A1}">
      <dgm:prSet phldrT="[Text]" custT="1"/>
      <dgm:spPr>
        <a:noFill/>
      </dgm:spPr>
      <dgm:t>
        <a:bodyPr/>
        <a:lstStyle/>
        <a:p>
          <a:pPr>
            <a:buSzPct val="100000"/>
            <a:buFont typeface="Arial"/>
            <a:buChar char="•"/>
          </a:pPr>
          <a:r>
            <a:rPr lang="de-DE" sz="1800" dirty="0">
              <a:solidFill>
                <a:schemeClr val="tx1"/>
              </a:solidFill>
            </a:rPr>
            <a:t>Transport </a:t>
          </a:r>
          <a:r>
            <a:rPr lang="de-DE" sz="1800" dirty="0" err="1">
              <a:solidFill>
                <a:schemeClr val="tx1"/>
              </a:solidFill>
            </a:rPr>
            <a:t>entir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herd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position</a:t>
          </a:r>
          <a:endParaRPr lang="de-DE" sz="1800" dirty="0">
            <a:solidFill>
              <a:schemeClr val="tx1"/>
            </a:solidFill>
          </a:endParaRPr>
        </a:p>
      </dgm:t>
    </dgm:pt>
    <dgm:pt modelId="{49FF4A1D-A73E-4F35-B566-44A782E27A43}" type="parTrans" cxnId="{00F98DFC-783F-40A5-915F-6EE3EC0C52D3}">
      <dgm:prSet/>
      <dgm:spPr/>
      <dgm:t>
        <a:bodyPr/>
        <a:lstStyle/>
        <a:p>
          <a:endParaRPr lang="de-DE"/>
        </a:p>
      </dgm:t>
    </dgm:pt>
    <dgm:pt modelId="{0D411981-CEA5-475B-BB3F-69416677B132}" type="sibTrans" cxnId="{00F98DFC-783F-40A5-915F-6EE3EC0C52D3}">
      <dgm:prSet/>
      <dgm:spPr/>
      <dgm:t>
        <a:bodyPr/>
        <a:lstStyle/>
        <a:p>
          <a:endParaRPr lang="de-DE"/>
        </a:p>
      </dgm:t>
    </dgm:pt>
    <dgm:pt modelId="{30D90061-E841-4746-BE97-26142A473E89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>
              <a:solidFill>
                <a:schemeClr val="tx1"/>
              </a:solidFill>
            </a:rPr>
            <a:t>Move </a:t>
          </a:r>
          <a:r>
            <a:rPr lang="de-DE" sz="1800" dirty="0" err="1">
              <a:solidFill>
                <a:schemeClr val="tx1"/>
              </a:solidFill>
            </a:rPr>
            <a:t>herd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</a:t>
          </a:r>
        </a:p>
      </dgm:t>
    </dgm:pt>
    <dgm:pt modelId="{3DA96048-D8D1-40F9-8AED-B72440D8A8F8}" type="parTrans" cxnId="{3147D20E-8F24-4D61-8BD3-BBDBFFD539F2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6D153117-E330-4F75-9F53-1018A6DA33A3}" type="sibTrans" cxnId="{3147D20E-8F24-4D61-8BD3-BBDBFFD539F2}">
      <dgm:prSet/>
      <dgm:spPr/>
      <dgm:t>
        <a:bodyPr/>
        <a:lstStyle/>
        <a:p>
          <a:endParaRPr lang="de-DE"/>
        </a:p>
      </dgm:t>
    </dgm:pt>
    <dgm:pt modelId="{C0CAE838-A696-4DDE-B2CE-66101AE8E7CE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 err="1">
              <a:solidFill>
                <a:schemeClr val="tx1"/>
              </a:solidFill>
            </a:rPr>
            <a:t>Don‘t</a:t>
          </a:r>
          <a:r>
            <a:rPr lang="de-DE" sz="1800" dirty="0">
              <a:solidFill>
                <a:schemeClr val="tx1"/>
              </a:solidFill>
            </a:rPr>
            <a:t> lose </a:t>
          </a:r>
          <a:r>
            <a:rPr lang="de-DE" sz="1800" dirty="0" err="1">
              <a:solidFill>
                <a:schemeClr val="tx1"/>
              </a:solidFill>
            </a:rPr>
            <a:t>any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agents</a:t>
          </a:r>
          <a:r>
            <a:rPr lang="de-DE" sz="1800" dirty="0">
              <a:solidFill>
                <a:schemeClr val="tx1"/>
              </a:solidFill>
            </a:rPr>
            <a:t> in </a:t>
          </a:r>
          <a:r>
            <a:rPr lang="de-DE" sz="1800" dirty="0" err="1">
              <a:solidFill>
                <a:schemeClr val="tx1"/>
              </a:solidFill>
            </a:rPr>
            <a:t>th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process</a:t>
          </a:r>
          <a:endParaRPr lang="de-DE" sz="1800" dirty="0">
            <a:solidFill>
              <a:schemeClr val="tx1"/>
            </a:solidFill>
          </a:endParaRPr>
        </a:p>
      </dgm:t>
    </dgm:pt>
    <dgm:pt modelId="{5F1165BC-C189-42A6-9379-1D285D0AF91D}" type="parTrans" cxnId="{B71B29CC-F50B-4C33-AB81-58BF65440904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571CC699-64A3-4DF1-B82F-C6E99B52CF54}" type="sibTrans" cxnId="{B71B29CC-F50B-4C33-AB81-58BF65440904}">
      <dgm:prSet/>
      <dgm:spPr/>
      <dgm:t>
        <a:bodyPr/>
        <a:lstStyle/>
        <a:p>
          <a:endParaRPr lang="de-DE"/>
        </a:p>
      </dgm:t>
    </dgm:pt>
    <dgm:pt modelId="{578DBCF9-8F1D-4DDA-96F0-6DE554F5D0A6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>
              <a:solidFill>
                <a:schemeClr val="tx1"/>
              </a:solidFill>
            </a:rPr>
            <a:t>Keep </a:t>
          </a:r>
          <a:r>
            <a:rPr lang="de-DE" sz="1800" dirty="0" err="1">
              <a:solidFill>
                <a:schemeClr val="tx1"/>
              </a:solidFill>
            </a:rPr>
            <a:t>agents</a:t>
          </a:r>
          <a:r>
            <a:rPr lang="de-DE" sz="1800" dirty="0">
              <a:solidFill>
                <a:schemeClr val="tx1"/>
              </a:solidFill>
            </a:rPr>
            <a:t> and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in </a:t>
          </a:r>
          <a:r>
            <a:rPr lang="de-DE" sz="1800" dirty="0" err="1">
              <a:solidFill>
                <a:schemeClr val="tx1"/>
              </a:solidFill>
            </a:rPr>
            <a:t>alignment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maintain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lin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of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sight</a:t>
          </a:r>
          <a:endParaRPr lang="de-DE" sz="1800" dirty="0">
            <a:solidFill>
              <a:schemeClr val="tx1"/>
            </a:solidFill>
          </a:endParaRPr>
        </a:p>
      </dgm:t>
    </dgm:pt>
    <dgm:pt modelId="{B34061C5-C9A2-457C-9DD5-6FA03A06D62D}" type="parTrans" cxnId="{5D038E2B-CDDE-445D-BFDD-4CAEA3B81B76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5C0B2448-4157-430E-9463-9FD5A0F19EC1}" type="sibTrans" cxnId="{5D038E2B-CDDE-445D-BFDD-4CAEA3B81B76}">
      <dgm:prSet/>
      <dgm:spPr/>
      <dgm:t>
        <a:bodyPr/>
        <a:lstStyle/>
        <a:p>
          <a:endParaRPr lang="de-DE"/>
        </a:p>
      </dgm:t>
    </dgm:pt>
    <dgm:pt modelId="{D8604D25-CDAC-467D-B244-2C43AECF06C8}" type="pres">
      <dgm:prSet presAssocID="{E21AD182-A6EC-4D44-BC17-2519D80664E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9F39E2B-5F17-4583-944A-3B05C87A24CB}" type="pres">
      <dgm:prSet presAssocID="{2C945879-8AD2-472F-9840-E68DD99192A1}" presName="hierRoot1" presStyleCnt="0">
        <dgm:presLayoutVars>
          <dgm:hierBranch val="init"/>
        </dgm:presLayoutVars>
      </dgm:prSet>
      <dgm:spPr/>
    </dgm:pt>
    <dgm:pt modelId="{1CFBDFCE-CEC4-4185-B1F1-D7C79C567F8F}" type="pres">
      <dgm:prSet presAssocID="{2C945879-8AD2-472F-9840-E68DD99192A1}" presName="rootComposite1" presStyleCnt="0"/>
      <dgm:spPr/>
    </dgm:pt>
    <dgm:pt modelId="{FD4C710B-AAD3-4FDE-9DB7-116B9D1C0776}" type="pres">
      <dgm:prSet presAssocID="{2C945879-8AD2-472F-9840-E68DD99192A1}" presName="rootText1" presStyleLbl="node0" presStyleIdx="0" presStyleCnt="1" custScaleY="71791" custLinFactNeighborY="-41990">
        <dgm:presLayoutVars>
          <dgm:chPref val="3"/>
        </dgm:presLayoutVars>
      </dgm:prSet>
      <dgm:spPr/>
    </dgm:pt>
    <dgm:pt modelId="{8505635A-4C5A-48C8-9EB8-D408F4450400}" type="pres">
      <dgm:prSet presAssocID="{2C945879-8AD2-472F-9840-E68DD99192A1}" presName="rootConnector1" presStyleLbl="node1" presStyleIdx="0" presStyleCnt="0"/>
      <dgm:spPr/>
    </dgm:pt>
    <dgm:pt modelId="{F0754389-6614-47AD-9338-FD90A29C897D}" type="pres">
      <dgm:prSet presAssocID="{2C945879-8AD2-472F-9840-E68DD99192A1}" presName="hierChild2" presStyleCnt="0"/>
      <dgm:spPr/>
    </dgm:pt>
    <dgm:pt modelId="{C96E89EB-24BE-4D1D-8441-A7A363D9D05C}" type="pres">
      <dgm:prSet presAssocID="{3DA96048-D8D1-40F9-8AED-B72440D8A8F8}" presName="Name37" presStyleLbl="parChTrans1D2" presStyleIdx="0" presStyleCnt="3"/>
      <dgm:spPr/>
    </dgm:pt>
    <dgm:pt modelId="{9C9B919D-3F8C-4A6E-AF74-940A578F3D6F}" type="pres">
      <dgm:prSet presAssocID="{30D90061-E841-4746-BE97-26142A473E89}" presName="hierRoot2" presStyleCnt="0">
        <dgm:presLayoutVars>
          <dgm:hierBranch val="init"/>
        </dgm:presLayoutVars>
      </dgm:prSet>
      <dgm:spPr/>
    </dgm:pt>
    <dgm:pt modelId="{D8C0D81B-4F0A-485F-858A-FDDBA51F05FF}" type="pres">
      <dgm:prSet presAssocID="{30D90061-E841-4746-BE97-26142A473E89}" presName="rootComposite" presStyleCnt="0"/>
      <dgm:spPr/>
    </dgm:pt>
    <dgm:pt modelId="{27A1F63E-023D-44DA-8371-BC00D7566CA4}" type="pres">
      <dgm:prSet presAssocID="{30D90061-E841-4746-BE97-26142A473E89}" presName="rootText" presStyleLbl="node2" presStyleIdx="0" presStyleCnt="3">
        <dgm:presLayoutVars>
          <dgm:chPref val="3"/>
        </dgm:presLayoutVars>
      </dgm:prSet>
      <dgm:spPr/>
    </dgm:pt>
    <dgm:pt modelId="{EA1BF1D8-01BA-4ACC-A610-7DEBCC60783E}" type="pres">
      <dgm:prSet presAssocID="{30D90061-E841-4746-BE97-26142A473E89}" presName="rootConnector" presStyleLbl="node2" presStyleIdx="0" presStyleCnt="3"/>
      <dgm:spPr/>
    </dgm:pt>
    <dgm:pt modelId="{2C67436C-6CB3-41D9-A670-DF14BE952D65}" type="pres">
      <dgm:prSet presAssocID="{30D90061-E841-4746-BE97-26142A473E89}" presName="hierChild4" presStyleCnt="0"/>
      <dgm:spPr/>
    </dgm:pt>
    <dgm:pt modelId="{5725FA93-177E-4536-86C8-F4F16AC31A6B}" type="pres">
      <dgm:prSet presAssocID="{30D90061-E841-4746-BE97-26142A473E89}" presName="hierChild5" presStyleCnt="0"/>
      <dgm:spPr/>
    </dgm:pt>
    <dgm:pt modelId="{260AF645-DB45-4CC8-9E97-FBC8ECF32B5D}" type="pres">
      <dgm:prSet presAssocID="{5F1165BC-C189-42A6-9379-1D285D0AF91D}" presName="Name37" presStyleLbl="parChTrans1D2" presStyleIdx="1" presStyleCnt="3"/>
      <dgm:spPr/>
    </dgm:pt>
    <dgm:pt modelId="{9B78538E-39D4-4773-A28E-DCC51F80DD2A}" type="pres">
      <dgm:prSet presAssocID="{C0CAE838-A696-4DDE-B2CE-66101AE8E7CE}" presName="hierRoot2" presStyleCnt="0">
        <dgm:presLayoutVars>
          <dgm:hierBranch val="init"/>
        </dgm:presLayoutVars>
      </dgm:prSet>
      <dgm:spPr/>
    </dgm:pt>
    <dgm:pt modelId="{0C7D22B4-4EE9-48DD-A30A-CB43F2F53E02}" type="pres">
      <dgm:prSet presAssocID="{C0CAE838-A696-4DDE-B2CE-66101AE8E7CE}" presName="rootComposite" presStyleCnt="0"/>
      <dgm:spPr/>
    </dgm:pt>
    <dgm:pt modelId="{7F886F2F-B8AD-4EFE-8619-8AEE2B3C7225}" type="pres">
      <dgm:prSet presAssocID="{C0CAE838-A696-4DDE-B2CE-66101AE8E7CE}" presName="rootText" presStyleLbl="node2" presStyleIdx="1" presStyleCnt="3">
        <dgm:presLayoutVars>
          <dgm:chPref val="3"/>
        </dgm:presLayoutVars>
      </dgm:prSet>
      <dgm:spPr/>
    </dgm:pt>
    <dgm:pt modelId="{CA59E733-8A9F-457B-803E-DEAF2B4F7EBD}" type="pres">
      <dgm:prSet presAssocID="{C0CAE838-A696-4DDE-B2CE-66101AE8E7CE}" presName="rootConnector" presStyleLbl="node2" presStyleIdx="1" presStyleCnt="3"/>
      <dgm:spPr/>
    </dgm:pt>
    <dgm:pt modelId="{6BAE4FCB-75F6-494F-903E-454AD18A4521}" type="pres">
      <dgm:prSet presAssocID="{C0CAE838-A696-4DDE-B2CE-66101AE8E7CE}" presName="hierChild4" presStyleCnt="0"/>
      <dgm:spPr/>
    </dgm:pt>
    <dgm:pt modelId="{CEB4F6AF-9927-4040-ACC5-4EB175431EDD}" type="pres">
      <dgm:prSet presAssocID="{C0CAE838-A696-4DDE-B2CE-66101AE8E7CE}" presName="hierChild5" presStyleCnt="0"/>
      <dgm:spPr/>
    </dgm:pt>
    <dgm:pt modelId="{8C95F618-3F46-40FE-AB54-ABDC68814E1C}" type="pres">
      <dgm:prSet presAssocID="{B34061C5-C9A2-457C-9DD5-6FA03A06D62D}" presName="Name37" presStyleLbl="parChTrans1D2" presStyleIdx="2" presStyleCnt="3"/>
      <dgm:spPr/>
    </dgm:pt>
    <dgm:pt modelId="{153207D0-C637-4B6B-B668-B45A57C76094}" type="pres">
      <dgm:prSet presAssocID="{578DBCF9-8F1D-4DDA-96F0-6DE554F5D0A6}" presName="hierRoot2" presStyleCnt="0">
        <dgm:presLayoutVars>
          <dgm:hierBranch val="init"/>
        </dgm:presLayoutVars>
      </dgm:prSet>
      <dgm:spPr/>
    </dgm:pt>
    <dgm:pt modelId="{CB732701-EBC6-4C1B-A138-C9D40AC8580B}" type="pres">
      <dgm:prSet presAssocID="{578DBCF9-8F1D-4DDA-96F0-6DE554F5D0A6}" presName="rootComposite" presStyleCnt="0"/>
      <dgm:spPr/>
    </dgm:pt>
    <dgm:pt modelId="{2D412D9C-3583-4EFB-A80C-9B846AC10124}" type="pres">
      <dgm:prSet presAssocID="{578DBCF9-8F1D-4DDA-96F0-6DE554F5D0A6}" presName="rootText" presStyleLbl="node2" presStyleIdx="2" presStyleCnt="3">
        <dgm:presLayoutVars>
          <dgm:chPref val="3"/>
        </dgm:presLayoutVars>
      </dgm:prSet>
      <dgm:spPr/>
    </dgm:pt>
    <dgm:pt modelId="{1C992205-05BB-486D-B816-EFD39E4C93BC}" type="pres">
      <dgm:prSet presAssocID="{578DBCF9-8F1D-4DDA-96F0-6DE554F5D0A6}" presName="rootConnector" presStyleLbl="node2" presStyleIdx="2" presStyleCnt="3"/>
      <dgm:spPr/>
    </dgm:pt>
    <dgm:pt modelId="{92DCCE64-F885-458A-9AA7-043FAB7E02E5}" type="pres">
      <dgm:prSet presAssocID="{578DBCF9-8F1D-4DDA-96F0-6DE554F5D0A6}" presName="hierChild4" presStyleCnt="0"/>
      <dgm:spPr/>
    </dgm:pt>
    <dgm:pt modelId="{D9D3CE67-B5F0-46B6-B87E-F19FF0B552B9}" type="pres">
      <dgm:prSet presAssocID="{578DBCF9-8F1D-4DDA-96F0-6DE554F5D0A6}" presName="hierChild5" presStyleCnt="0"/>
      <dgm:spPr/>
    </dgm:pt>
    <dgm:pt modelId="{81DD0AFF-C255-4892-83EE-5BAEE20BFF24}" type="pres">
      <dgm:prSet presAssocID="{2C945879-8AD2-472F-9840-E68DD99192A1}" presName="hierChild3" presStyleCnt="0"/>
      <dgm:spPr/>
    </dgm:pt>
  </dgm:ptLst>
  <dgm:cxnLst>
    <dgm:cxn modelId="{3147D20E-8F24-4D61-8BD3-BBDBFFD539F2}" srcId="{2C945879-8AD2-472F-9840-E68DD99192A1}" destId="{30D90061-E841-4746-BE97-26142A473E89}" srcOrd="0" destOrd="0" parTransId="{3DA96048-D8D1-40F9-8AED-B72440D8A8F8}" sibTransId="{6D153117-E330-4F75-9F53-1018A6DA33A3}"/>
    <dgm:cxn modelId="{5D038E2B-CDDE-445D-BFDD-4CAEA3B81B76}" srcId="{2C945879-8AD2-472F-9840-E68DD99192A1}" destId="{578DBCF9-8F1D-4DDA-96F0-6DE554F5D0A6}" srcOrd="2" destOrd="0" parTransId="{B34061C5-C9A2-457C-9DD5-6FA03A06D62D}" sibTransId="{5C0B2448-4157-430E-9463-9FD5A0F19EC1}"/>
    <dgm:cxn modelId="{E9BB0D34-AA16-44FB-8007-0E7D28FBD482}" type="presOf" srcId="{B34061C5-C9A2-457C-9DD5-6FA03A06D62D}" destId="{8C95F618-3F46-40FE-AB54-ABDC68814E1C}" srcOrd="0" destOrd="0" presId="urn:microsoft.com/office/officeart/2005/8/layout/orgChart1"/>
    <dgm:cxn modelId="{BD1DD437-4249-4EB2-B75B-A3643EDFE289}" type="presOf" srcId="{30D90061-E841-4746-BE97-26142A473E89}" destId="{27A1F63E-023D-44DA-8371-BC00D7566CA4}" srcOrd="0" destOrd="0" presId="urn:microsoft.com/office/officeart/2005/8/layout/orgChart1"/>
    <dgm:cxn modelId="{E5200360-A852-4E9D-A8DD-12F4A67E4383}" type="presOf" srcId="{2C945879-8AD2-472F-9840-E68DD99192A1}" destId="{8505635A-4C5A-48C8-9EB8-D408F4450400}" srcOrd="1" destOrd="0" presId="urn:microsoft.com/office/officeart/2005/8/layout/orgChart1"/>
    <dgm:cxn modelId="{BD79DE41-5082-4D12-ACAC-A771E299A9C0}" type="presOf" srcId="{E21AD182-A6EC-4D44-BC17-2519D80664EF}" destId="{D8604D25-CDAC-467D-B244-2C43AECF06C8}" srcOrd="0" destOrd="0" presId="urn:microsoft.com/office/officeart/2005/8/layout/orgChart1"/>
    <dgm:cxn modelId="{64FC9991-BFF4-4EBF-A46D-37214DDD7F08}" type="presOf" srcId="{578DBCF9-8F1D-4DDA-96F0-6DE554F5D0A6}" destId="{2D412D9C-3583-4EFB-A80C-9B846AC10124}" srcOrd="0" destOrd="0" presId="urn:microsoft.com/office/officeart/2005/8/layout/orgChart1"/>
    <dgm:cxn modelId="{BE9B10AE-D6E9-4ACC-B2E6-45EC68A374F0}" type="presOf" srcId="{5F1165BC-C189-42A6-9379-1D285D0AF91D}" destId="{260AF645-DB45-4CC8-9E97-FBC8ECF32B5D}" srcOrd="0" destOrd="0" presId="urn:microsoft.com/office/officeart/2005/8/layout/orgChart1"/>
    <dgm:cxn modelId="{E350EEB3-656C-4A30-BD0E-6A21C9FDC007}" type="presOf" srcId="{C0CAE838-A696-4DDE-B2CE-66101AE8E7CE}" destId="{CA59E733-8A9F-457B-803E-DEAF2B4F7EBD}" srcOrd="1" destOrd="0" presId="urn:microsoft.com/office/officeart/2005/8/layout/orgChart1"/>
    <dgm:cxn modelId="{1B6184BD-0CD4-4204-83B4-7624BBD49658}" type="presOf" srcId="{3DA96048-D8D1-40F9-8AED-B72440D8A8F8}" destId="{C96E89EB-24BE-4D1D-8441-A7A363D9D05C}" srcOrd="0" destOrd="0" presId="urn:microsoft.com/office/officeart/2005/8/layout/orgChart1"/>
    <dgm:cxn modelId="{B71B29CC-F50B-4C33-AB81-58BF65440904}" srcId="{2C945879-8AD2-472F-9840-E68DD99192A1}" destId="{C0CAE838-A696-4DDE-B2CE-66101AE8E7CE}" srcOrd="1" destOrd="0" parTransId="{5F1165BC-C189-42A6-9379-1D285D0AF91D}" sibTransId="{571CC699-64A3-4DF1-B82F-C6E99B52CF54}"/>
    <dgm:cxn modelId="{5F2481D6-3D86-4D46-803F-5E4EFC2BE32A}" type="presOf" srcId="{578DBCF9-8F1D-4DDA-96F0-6DE554F5D0A6}" destId="{1C992205-05BB-486D-B816-EFD39E4C93BC}" srcOrd="1" destOrd="0" presId="urn:microsoft.com/office/officeart/2005/8/layout/orgChart1"/>
    <dgm:cxn modelId="{052C23ED-867E-4E6C-82B1-CE5954A086B5}" type="presOf" srcId="{30D90061-E841-4746-BE97-26142A473E89}" destId="{EA1BF1D8-01BA-4ACC-A610-7DEBCC60783E}" srcOrd="1" destOrd="0" presId="urn:microsoft.com/office/officeart/2005/8/layout/orgChart1"/>
    <dgm:cxn modelId="{30DE6AF0-557A-4122-9623-70FBD1908ADB}" type="presOf" srcId="{2C945879-8AD2-472F-9840-E68DD99192A1}" destId="{FD4C710B-AAD3-4FDE-9DB7-116B9D1C0776}" srcOrd="0" destOrd="0" presId="urn:microsoft.com/office/officeart/2005/8/layout/orgChart1"/>
    <dgm:cxn modelId="{00F98DFC-783F-40A5-915F-6EE3EC0C52D3}" srcId="{E21AD182-A6EC-4D44-BC17-2519D80664EF}" destId="{2C945879-8AD2-472F-9840-E68DD99192A1}" srcOrd="0" destOrd="0" parTransId="{49FF4A1D-A73E-4F35-B566-44A782E27A43}" sibTransId="{0D411981-CEA5-475B-BB3F-69416677B132}"/>
    <dgm:cxn modelId="{32318DFF-F55F-4FEB-9030-0B3D0D0B1CEF}" type="presOf" srcId="{C0CAE838-A696-4DDE-B2CE-66101AE8E7CE}" destId="{7F886F2F-B8AD-4EFE-8619-8AEE2B3C7225}" srcOrd="0" destOrd="0" presId="urn:microsoft.com/office/officeart/2005/8/layout/orgChart1"/>
    <dgm:cxn modelId="{63AE3AF1-4081-4CAC-82C9-2FCF083DC96B}" type="presParOf" srcId="{D8604D25-CDAC-467D-B244-2C43AECF06C8}" destId="{39F39E2B-5F17-4583-944A-3B05C87A24CB}" srcOrd="0" destOrd="0" presId="urn:microsoft.com/office/officeart/2005/8/layout/orgChart1"/>
    <dgm:cxn modelId="{0089E89C-7AD1-480E-B593-6893CB1464B6}" type="presParOf" srcId="{39F39E2B-5F17-4583-944A-3B05C87A24CB}" destId="{1CFBDFCE-CEC4-4185-B1F1-D7C79C567F8F}" srcOrd="0" destOrd="0" presId="urn:microsoft.com/office/officeart/2005/8/layout/orgChart1"/>
    <dgm:cxn modelId="{831A069E-99B3-475A-A2AB-EED646C39A92}" type="presParOf" srcId="{1CFBDFCE-CEC4-4185-B1F1-D7C79C567F8F}" destId="{FD4C710B-AAD3-4FDE-9DB7-116B9D1C0776}" srcOrd="0" destOrd="0" presId="urn:microsoft.com/office/officeart/2005/8/layout/orgChart1"/>
    <dgm:cxn modelId="{C9482331-EF9F-4200-9FAD-56C1A4D6FBD8}" type="presParOf" srcId="{1CFBDFCE-CEC4-4185-B1F1-D7C79C567F8F}" destId="{8505635A-4C5A-48C8-9EB8-D408F4450400}" srcOrd="1" destOrd="0" presId="urn:microsoft.com/office/officeart/2005/8/layout/orgChart1"/>
    <dgm:cxn modelId="{C1B7EDD3-559D-4734-B25B-18C97D7B2224}" type="presParOf" srcId="{39F39E2B-5F17-4583-944A-3B05C87A24CB}" destId="{F0754389-6614-47AD-9338-FD90A29C897D}" srcOrd="1" destOrd="0" presId="urn:microsoft.com/office/officeart/2005/8/layout/orgChart1"/>
    <dgm:cxn modelId="{E672E46A-6CAC-4C91-B210-0B39A9F3782A}" type="presParOf" srcId="{F0754389-6614-47AD-9338-FD90A29C897D}" destId="{C96E89EB-24BE-4D1D-8441-A7A363D9D05C}" srcOrd="0" destOrd="0" presId="urn:microsoft.com/office/officeart/2005/8/layout/orgChart1"/>
    <dgm:cxn modelId="{B7061FAF-DB86-4454-9168-A90EF5FB3D99}" type="presParOf" srcId="{F0754389-6614-47AD-9338-FD90A29C897D}" destId="{9C9B919D-3F8C-4A6E-AF74-940A578F3D6F}" srcOrd="1" destOrd="0" presId="urn:microsoft.com/office/officeart/2005/8/layout/orgChart1"/>
    <dgm:cxn modelId="{4EFE61D3-31CC-41FC-ABA7-060A606EBD5B}" type="presParOf" srcId="{9C9B919D-3F8C-4A6E-AF74-940A578F3D6F}" destId="{D8C0D81B-4F0A-485F-858A-FDDBA51F05FF}" srcOrd="0" destOrd="0" presId="urn:microsoft.com/office/officeart/2005/8/layout/orgChart1"/>
    <dgm:cxn modelId="{AFD390DC-E920-4B25-A259-F6EDCAB11785}" type="presParOf" srcId="{D8C0D81B-4F0A-485F-858A-FDDBA51F05FF}" destId="{27A1F63E-023D-44DA-8371-BC00D7566CA4}" srcOrd="0" destOrd="0" presId="urn:microsoft.com/office/officeart/2005/8/layout/orgChart1"/>
    <dgm:cxn modelId="{6DE6F07A-66AF-42B1-8404-CA2FE7CDAFA8}" type="presParOf" srcId="{D8C0D81B-4F0A-485F-858A-FDDBA51F05FF}" destId="{EA1BF1D8-01BA-4ACC-A610-7DEBCC60783E}" srcOrd="1" destOrd="0" presId="urn:microsoft.com/office/officeart/2005/8/layout/orgChart1"/>
    <dgm:cxn modelId="{3F3CB089-7C28-494C-8E5C-8368B8E5CA98}" type="presParOf" srcId="{9C9B919D-3F8C-4A6E-AF74-940A578F3D6F}" destId="{2C67436C-6CB3-41D9-A670-DF14BE952D65}" srcOrd="1" destOrd="0" presId="urn:microsoft.com/office/officeart/2005/8/layout/orgChart1"/>
    <dgm:cxn modelId="{D77C6B06-A215-4624-80F6-CE784F050F63}" type="presParOf" srcId="{9C9B919D-3F8C-4A6E-AF74-940A578F3D6F}" destId="{5725FA93-177E-4536-86C8-F4F16AC31A6B}" srcOrd="2" destOrd="0" presId="urn:microsoft.com/office/officeart/2005/8/layout/orgChart1"/>
    <dgm:cxn modelId="{93AB06F4-2B0E-4A62-BA31-EFA1A0AE9754}" type="presParOf" srcId="{F0754389-6614-47AD-9338-FD90A29C897D}" destId="{260AF645-DB45-4CC8-9E97-FBC8ECF32B5D}" srcOrd="2" destOrd="0" presId="urn:microsoft.com/office/officeart/2005/8/layout/orgChart1"/>
    <dgm:cxn modelId="{33792486-3892-4B48-A237-EA6C605FE2B7}" type="presParOf" srcId="{F0754389-6614-47AD-9338-FD90A29C897D}" destId="{9B78538E-39D4-4773-A28E-DCC51F80DD2A}" srcOrd="3" destOrd="0" presId="urn:microsoft.com/office/officeart/2005/8/layout/orgChart1"/>
    <dgm:cxn modelId="{DFD31623-9E2F-49CC-BFD3-A6F7CC4BBC3C}" type="presParOf" srcId="{9B78538E-39D4-4773-A28E-DCC51F80DD2A}" destId="{0C7D22B4-4EE9-48DD-A30A-CB43F2F53E02}" srcOrd="0" destOrd="0" presId="urn:microsoft.com/office/officeart/2005/8/layout/orgChart1"/>
    <dgm:cxn modelId="{90EB3850-C193-40AB-8CC7-ECA7E11CAEF9}" type="presParOf" srcId="{0C7D22B4-4EE9-48DD-A30A-CB43F2F53E02}" destId="{7F886F2F-B8AD-4EFE-8619-8AEE2B3C7225}" srcOrd="0" destOrd="0" presId="urn:microsoft.com/office/officeart/2005/8/layout/orgChart1"/>
    <dgm:cxn modelId="{D385BBEF-020A-4BF9-AACF-5E3B1736CD0A}" type="presParOf" srcId="{0C7D22B4-4EE9-48DD-A30A-CB43F2F53E02}" destId="{CA59E733-8A9F-457B-803E-DEAF2B4F7EBD}" srcOrd="1" destOrd="0" presId="urn:microsoft.com/office/officeart/2005/8/layout/orgChart1"/>
    <dgm:cxn modelId="{BCD23F7C-9489-4EC4-ACAA-4C847312F6F8}" type="presParOf" srcId="{9B78538E-39D4-4773-A28E-DCC51F80DD2A}" destId="{6BAE4FCB-75F6-494F-903E-454AD18A4521}" srcOrd="1" destOrd="0" presId="urn:microsoft.com/office/officeart/2005/8/layout/orgChart1"/>
    <dgm:cxn modelId="{7A73B544-1978-4DC0-AFC8-0BAEF2E0DF13}" type="presParOf" srcId="{9B78538E-39D4-4773-A28E-DCC51F80DD2A}" destId="{CEB4F6AF-9927-4040-ACC5-4EB175431EDD}" srcOrd="2" destOrd="0" presId="urn:microsoft.com/office/officeart/2005/8/layout/orgChart1"/>
    <dgm:cxn modelId="{03B58060-0FA6-44AD-887E-F5AE929AD89E}" type="presParOf" srcId="{F0754389-6614-47AD-9338-FD90A29C897D}" destId="{8C95F618-3F46-40FE-AB54-ABDC68814E1C}" srcOrd="4" destOrd="0" presId="urn:microsoft.com/office/officeart/2005/8/layout/orgChart1"/>
    <dgm:cxn modelId="{742D444E-E54C-417B-8492-813EF984BC12}" type="presParOf" srcId="{F0754389-6614-47AD-9338-FD90A29C897D}" destId="{153207D0-C637-4B6B-B668-B45A57C76094}" srcOrd="5" destOrd="0" presId="urn:microsoft.com/office/officeart/2005/8/layout/orgChart1"/>
    <dgm:cxn modelId="{003BF6F7-EBF0-442A-8276-A3AE6CD40A79}" type="presParOf" srcId="{153207D0-C637-4B6B-B668-B45A57C76094}" destId="{CB732701-EBC6-4C1B-A138-C9D40AC8580B}" srcOrd="0" destOrd="0" presId="urn:microsoft.com/office/officeart/2005/8/layout/orgChart1"/>
    <dgm:cxn modelId="{9BD02949-2CA8-4B47-A554-8CA84316B3C6}" type="presParOf" srcId="{CB732701-EBC6-4C1B-A138-C9D40AC8580B}" destId="{2D412D9C-3583-4EFB-A80C-9B846AC10124}" srcOrd="0" destOrd="0" presId="urn:microsoft.com/office/officeart/2005/8/layout/orgChart1"/>
    <dgm:cxn modelId="{32E0CDB6-1295-4BA8-BC20-6E8CA7D1FC68}" type="presParOf" srcId="{CB732701-EBC6-4C1B-A138-C9D40AC8580B}" destId="{1C992205-05BB-486D-B816-EFD39E4C93BC}" srcOrd="1" destOrd="0" presId="urn:microsoft.com/office/officeart/2005/8/layout/orgChart1"/>
    <dgm:cxn modelId="{A197BB65-8AF0-45DB-B397-6D19B098F3E4}" type="presParOf" srcId="{153207D0-C637-4B6B-B668-B45A57C76094}" destId="{92DCCE64-F885-458A-9AA7-043FAB7E02E5}" srcOrd="1" destOrd="0" presId="urn:microsoft.com/office/officeart/2005/8/layout/orgChart1"/>
    <dgm:cxn modelId="{6A188787-3182-4589-917C-3EF6F9C5D785}" type="presParOf" srcId="{153207D0-C637-4B6B-B668-B45A57C76094}" destId="{D9D3CE67-B5F0-46B6-B87E-F19FF0B552B9}" srcOrd="2" destOrd="0" presId="urn:microsoft.com/office/officeart/2005/8/layout/orgChart1"/>
    <dgm:cxn modelId="{DFDE18FC-6164-4A79-8B79-9FDF7C006A90}" type="presParOf" srcId="{39F39E2B-5F17-4583-944A-3B05C87A24CB}" destId="{81DD0AFF-C255-4892-83EE-5BAEE20BFF24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5279901-A423-4DCE-81B3-15D313A73071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DA15D8D5-C429-4D0C-8FFB-38B0E729BE42}">
      <dgm:prSet phldrT="[Text]" custT="1"/>
      <dgm:spPr>
        <a:solidFill>
          <a:schemeClr val="bg2"/>
        </a:solidFill>
      </dgm:spPr>
      <dgm:t>
        <a:bodyPr/>
        <a:lstStyle/>
        <a:p>
          <a:r>
            <a:rPr lang="de-DE" sz="1800" dirty="0" err="1"/>
            <a:t>Recreate</a:t>
          </a:r>
          <a:r>
            <a:rPr lang="de-DE" sz="1800" dirty="0"/>
            <a:t> Code in Python</a:t>
          </a:r>
        </a:p>
      </dgm:t>
    </dgm:pt>
    <dgm:pt modelId="{4D07A94A-C1C1-4721-A845-6653C7CDA16A}" type="parTrans" cxnId="{3C82DB6C-F80E-4EC3-9CFC-F6371C9D4D69}">
      <dgm:prSet/>
      <dgm:spPr/>
      <dgm:t>
        <a:bodyPr/>
        <a:lstStyle/>
        <a:p>
          <a:endParaRPr lang="de-DE"/>
        </a:p>
      </dgm:t>
    </dgm:pt>
    <dgm:pt modelId="{3D04D0E8-6258-4593-8D5D-A1894E86F829}" type="sibTrans" cxnId="{3C82DB6C-F80E-4EC3-9CFC-F6371C9D4D69}">
      <dgm:prSet custT="1"/>
      <dgm:spPr>
        <a:solidFill>
          <a:schemeClr val="bg2"/>
        </a:solidFill>
      </dgm:spPr>
      <dgm:t>
        <a:bodyPr/>
        <a:lstStyle/>
        <a:p>
          <a:r>
            <a:rPr lang="de-DE" sz="1800" dirty="0" err="1"/>
            <a:t>Understand</a:t>
          </a:r>
          <a:r>
            <a:rPr lang="de-DE" sz="1800" dirty="0"/>
            <a:t> </a:t>
          </a:r>
          <a:r>
            <a:rPr lang="de-DE" sz="1800" dirty="0" err="1"/>
            <a:t>Codebase</a:t>
          </a:r>
          <a:endParaRPr lang="de-DE" sz="1800" dirty="0"/>
        </a:p>
      </dgm:t>
    </dgm:pt>
    <dgm:pt modelId="{A541F1FE-9F12-46E5-850C-51CA31F642FE}">
      <dgm:prSet phldrT="[Text]" custT="1"/>
      <dgm:spPr>
        <a:solidFill>
          <a:schemeClr val="bg2"/>
        </a:solidFill>
      </dgm:spPr>
      <dgm:t>
        <a:bodyPr/>
        <a:lstStyle/>
        <a:p>
          <a:r>
            <a:rPr lang="de-DE" sz="1800" dirty="0"/>
            <a:t>Add </a:t>
          </a:r>
          <a:r>
            <a:rPr lang="de-DE" sz="1800" dirty="0" err="1"/>
            <a:t>extensions</a:t>
          </a:r>
          <a:endParaRPr lang="de-DE" sz="1800" dirty="0"/>
        </a:p>
      </dgm:t>
    </dgm:pt>
    <dgm:pt modelId="{EB97D544-9FCD-4FBD-BF57-04548BACBC80}" type="parTrans" cxnId="{8FCAC832-9563-4A8D-8298-42EA34574E02}">
      <dgm:prSet/>
      <dgm:spPr/>
      <dgm:t>
        <a:bodyPr/>
        <a:lstStyle/>
        <a:p>
          <a:endParaRPr lang="de-DE"/>
        </a:p>
      </dgm:t>
    </dgm:pt>
    <dgm:pt modelId="{9089C198-7259-44B1-A7D9-FCD3A7722689}" type="sibTrans" cxnId="{8FCAC832-9563-4A8D-8298-42EA34574E02}">
      <dgm:prSet custT="1"/>
      <dgm:spPr>
        <a:solidFill>
          <a:schemeClr val="bg2"/>
        </a:solidFill>
      </dgm:spPr>
      <dgm:t>
        <a:bodyPr/>
        <a:lstStyle/>
        <a:p>
          <a:r>
            <a:rPr lang="de-DE" sz="1800" dirty="0"/>
            <a:t>Find </a:t>
          </a:r>
          <a:r>
            <a:rPr lang="de-DE" sz="1800" dirty="0" err="1"/>
            <a:t>best</a:t>
          </a:r>
          <a:r>
            <a:rPr lang="de-DE" sz="1800" dirty="0"/>
            <a:t> </a:t>
          </a:r>
          <a:r>
            <a:rPr lang="de-DE" sz="1800" dirty="0" err="1"/>
            <a:t>parameters</a:t>
          </a:r>
          <a:endParaRPr lang="de-DE" sz="1800" dirty="0"/>
        </a:p>
      </dgm:t>
    </dgm:pt>
    <dgm:pt modelId="{71B50E39-B6A3-471A-9B09-1A3F205C7E22}" type="pres">
      <dgm:prSet presAssocID="{55279901-A423-4DCE-81B3-15D313A73071}" presName="Name0" presStyleCnt="0">
        <dgm:presLayoutVars>
          <dgm:chMax/>
          <dgm:chPref/>
          <dgm:dir/>
          <dgm:animLvl val="lvl"/>
        </dgm:presLayoutVars>
      </dgm:prSet>
      <dgm:spPr/>
    </dgm:pt>
    <dgm:pt modelId="{03AAD756-20DE-472F-B7D5-62C4EEAB72DF}" type="pres">
      <dgm:prSet presAssocID="{DA15D8D5-C429-4D0C-8FFB-38B0E729BE42}" presName="composite" presStyleCnt="0"/>
      <dgm:spPr/>
    </dgm:pt>
    <dgm:pt modelId="{8E94F6CF-3C6D-449A-839A-DC3F16E2EA2F}" type="pres">
      <dgm:prSet presAssocID="{DA15D8D5-C429-4D0C-8FFB-38B0E729BE42}" presName="Parent1" presStyleLbl="node1" presStyleIdx="0" presStyleCnt="4">
        <dgm:presLayoutVars>
          <dgm:chMax val="1"/>
          <dgm:chPref val="1"/>
          <dgm:bulletEnabled val="1"/>
        </dgm:presLayoutVars>
      </dgm:prSet>
      <dgm:spPr/>
    </dgm:pt>
    <dgm:pt modelId="{48F91170-7DB7-4CBF-8BD9-0FF0747DBE74}" type="pres">
      <dgm:prSet presAssocID="{DA15D8D5-C429-4D0C-8FFB-38B0E729BE42}" presName="Childtext1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C8C98564-8661-467F-8BCD-3B419138B377}" type="pres">
      <dgm:prSet presAssocID="{DA15D8D5-C429-4D0C-8FFB-38B0E729BE42}" presName="BalanceSpacing" presStyleCnt="0"/>
      <dgm:spPr/>
    </dgm:pt>
    <dgm:pt modelId="{97B81D20-8DCD-40DC-935C-F325F44EAD1F}" type="pres">
      <dgm:prSet presAssocID="{DA15D8D5-C429-4D0C-8FFB-38B0E729BE42}" presName="BalanceSpacing1" presStyleCnt="0"/>
      <dgm:spPr/>
    </dgm:pt>
    <dgm:pt modelId="{AEBD023A-1EAB-4244-B92C-F52991F49330}" type="pres">
      <dgm:prSet presAssocID="{3D04D0E8-6258-4593-8D5D-A1894E86F829}" presName="Accent1Text" presStyleLbl="node1" presStyleIdx="1" presStyleCnt="4"/>
      <dgm:spPr/>
    </dgm:pt>
    <dgm:pt modelId="{0E039457-16A2-4606-8240-C2470909538D}" type="pres">
      <dgm:prSet presAssocID="{3D04D0E8-6258-4593-8D5D-A1894E86F829}" presName="spaceBetweenRectangles" presStyleCnt="0"/>
      <dgm:spPr/>
    </dgm:pt>
    <dgm:pt modelId="{C7EB9403-6F06-4FA5-BBB3-F6D6FC6BAC67}" type="pres">
      <dgm:prSet presAssocID="{A541F1FE-9F12-46E5-850C-51CA31F642FE}" presName="composite" presStyleCnt="0"/>
      <dgm:spPr/>
    </dgm:pt>
    <dgm:pt modelId="{9FF396AA-33F2-455B-9413-41F0F28B328C}" type="pres">
      <dgm:prSet presAssocID="{A541F1FE-9F12-46E5-850C-51CA31F642FE}" presName="Parent1" presStyleLbl="node1" presStyleIdx="2" presStyleCnt="4">
        <dgm:presLayoutVars>
          <dgm:chMax val="1"/>
          <dgm:chPref val="1"/>
          <dgm:bulletEnabled val="1"/>
        </dgm:presLayoutVars>
      </dgm:prSet>
      <dgm:spPr/>
    </dgm:pt>
    <dgm:pt modelId="{62092414-EAB9-463A-8D9B-91A3A743CCEC}" type="pres">
      <dgm:prSet presAssocID="{A541F1FE-9F12-46E5-850C-51CA31F642FE}" presName="Childtext1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FEF26AA4-729E-46AB-AE37-2E2C4DAA1A4F}" type="pres">
      <dgm:prSet presAssocID="{A541F1FE-9F12-46E5-850C-51CA31F642FE}" presName="BalanceSpacing" presStyleCnt="0"/>
      <dgm:spPr/>
    </dgm:pt>
    <dgm:pt modelId="{87B22DBF-49A8-4214-ADE3-DB8660D75694}" type="pres">
      <dgm:prSet presAssocID="{A541F1FE-9F12-46E5-850C-51CA31F642FE}" presName="BalanceSpacing1" presStyleCnt="0"/>
      <dgm:spPr/>
    </dgm:pt>
    <dgm:pt modelId="{36E2313D-F53B-4EB3-9DC7-24EB9A4B7A8F}" type="pres">
      <dgm:prSet presAssocID="{9089C198-7259-44B1-A7D9-FCD3A7722689}" presName="Accent1Text" presStyleLbl="node1" presStyleIdx="3" presStyleCnt="4"/>
      <dgm:spPr/>
    </dgm:pt>
  </dgm:ptLst>
  <dgm:cxnLst>
    <dgm:cxn modelId="{6151131C-76E2-498B-B159-5F375DB1E8DB}" type="presOf" srcId="{3D04D0E8-6258-4593-8D5D-A1894E86F829}" destId="{AEBD023A-1EAB-4244-B92C-F52991F49330}" srcOrd="0" destOrd="0" presId="urn:microsoft.com/office/officeart/2008/layout/AlternatingHexagons"/>
    <dgm:cxn modelId="{8FCAC832-9563-4A8D-8298-42EA34574E02}" srcId="{55279901-A423-4DCE-81B3-15D313A73071}" destId="{A541F1FE-9F12-46E5-850C-51CA31F642FE}" srcOrd="1" destOrd="0" parTransId="{EB97D544-9FCD-4FBD-BF57-04548BACBC80}" sibTransId="{9089C198-7259-44B1-A7D9-FCD3A7722689}"/>
    <dgm:cxn modelId="{3FD71766-4767-4806-98B2-E371E17C4337}" type="presOf" srcId="{DA15D8D5-C429-4D0C-8FFB-38B0E729BE42}" destId="{8E94F6CF-3C6D-449A-839A-DC3F16E2EA2F}" srcOrd="0" destOrd="0" presId="urn:microsoft.com/office/officeart/2008/layout/AlternatingHexagons"/>
    <dgm:cxn modelId="{BB30C54A-3E5A-4302-A6B5-9DE41CCD52B6}" type="presOf" srcId="{9089C198-7259-44B1-A7D9-FCD3A7722689}" destId="{36E2313D-F53B-4EB3-9DC7-24EB9A4B7A8F}" srcOrd="0" destOrd="0" presId="urn:microsoft.com/office/officeart/2008/layout/AlternatingHexagons"/>
    <dgm:cxn modelId="{3C82DB6C-F80E-4EC3-9CFC-F6371C9D4D69}" srcId="{55279901-A423-4DCE-81B3-15D313A73071}" destId="{DA15D8D5-C429-4D0C-8FFB-38B0E729BE42}" srcOrd="0" destOrd="0" parTransId="{4D07A94A-C1C1-4721-A845-6653C7CDA16A}" sibTransId="{3D04D0E8-6258-4593-8D5D-A1894E86F829}"/>
    <dgm:cxn modelId="{F2BC0E5A-2A68-412E-9C06-173207A85479}" type="presOf" srcId="{A541F1FE-9F12-46E5-850C-51CA31F642FE}" destId="{9FF396AA-33F2-455B-9413-41F0F28B328C}" srcOrd="0" destOrd="0" presId="urn:microsoft.com/office/officeart/2008/layout/AlternatingHexagons"/>
    <dgm:cxn modelId="{877BF3C7-7C53-4E0E-9B8C-8073A1223DE5}" type="presOf" srcId="{55279901-A423-4DCE-81B3-15D313A73071}" destId="{71B50E39-B6A3-471A-9B09-1A3F205C7E22}" srcOrd="0" destOrd="0" presId="urn:microsoft.com/office/officeart/2008/layout/AlternatingHexagons"/>
    <dgm:cxn modelId="{C7B2BB8F-18B1-4B03-9FEB-281548FF6133}" type="presParOf" srcId="{71B50E39-B6A3-471A-9B09-1A3F205C7E22}" destId="{03AAD756-20DE-472F-B7D5-62C4EEAB72DF}" srcOrd="0" destOrd="0" presId="urn:microsoft.com/office/officeart/2008/layout/AlternatingHexagons"/>
    <dgm:cxn modelId="{576871A2-B57D-4A5E-8647-C819BB6404FC}" type="presParOf" srcId="{03AAD756-20DE-472F-B7D5-62C4EEAB72DF}" destId="{8E94F6CF-3C6D-449A-839A-DC3F16E2EA2F}" srcOrd="0" destOrd="0" presId="urn:microsoft.com/office/officeart/2008/layout/AlternatingHexagons"/>
    <dgm:cxn modelId="{E6B44993-06DD-469B-8A78-30F73550012D}" type="presParOf" srcId="{03AAD756-20DE-472F-B7D5-62C4EEAB72DF}" destId="{48F91170-7DB7-4CBF-8BD9-0FF0747DBE74}" srcOrd="1" destOrd="0" presId="urn:microsoft.com/office/officeart/2008/layout/AlternatingHexagons"/>
    <dgm:cxn modelId="{0C37C4F6-2AC7-43B0-96C9-4F7C50072988}" type="presParOf" srcId="{03AAD756-20DE-472F-B7D5-62C4EEAB72DF}" destId="{C8C98564-8661-467F-8BCD-3B419138B377}" srcOrd="2" destOrd="0" presId="urn:microsoft.com/office/officeart/2008/layout/AlternatingHexagons"/>
    <dgm:cxn modelId="{12D7B026-A15F-42CC-A2D0-0D16C1AEAB62}" type="presParOf" srcId="{03AAD756-20DE-472F-B7D5-62C4EEAB72DF}" destId="{97B81D20-8DCD-40DC-935C-F325F44EAD1F}" srcOrd="3" destOrd="0" presId="urn:microsoft.com/office/officeart/2008/layout/AlternatingHexagons"/>
    <dgm:cxn modelId="{74F02E94-2854-4611-9285-2E2DD61639FE}" type="presParOf" srcId="{03AAD756-20DE-472F-B7D5-62C4EEAB72DF}" destId="{AEBD023A-1EAB-4244-B92C-F52991F49330}" srcOrd="4" destOrd="0" presId="urn:microsoft.com/office/officeart/2008/layout/AlternatingHexagons"/>
    <dgm:cxn modelId="{28C16B3F-AB1D-4A1B-8E4B-430AB6F3E9D9}" type="presParOf" srcId="{71B50E39-B6A3-471A-9B09-1A3F205C7E22}" destId="{0E039457-16A2-4606-8240-C2470909538D}" srcOrd="1" destOrd="0" presId="urn:microsoft.com/office/officeart/2008/layout/AlternatingHexagons"/>
    <dgm:cxn modelId="{BBD9C22C-90C1-4C4E-8DEC-14A5CF2C52FC}" type="presParOf" srcId="{71B50E39-B6A3-471A-9B09-1A3F205C7E22}" destId="{C7EB9403-6F06-4FA5-BBB3-F6D6FC6BAC67}" srcOrd="2" destOrd="0" presId="urn:microsoft.com/office/officeart/2008/layout/AlternatingHexagons"/>
    <dgm:cxn modelId="{ABC37C11-8AC0-4C39-9E34-698856E15E16}" type="presParOf" srcId="{C7EB9403-6F06-4FA5-BBB3-F6D6FC6BAC67}" destId="{9FF396AA-33F2-455B-9413-41F0F28B328C}" srcOrd="0" destOrd="0" presId="urn:microsoft.com/office/officeart/2008/layout/AlternatingHexagons"/>
    <dgm:cxn modelId="{446B1DC4-741C-42DD-B8CB-2F379E307358}" type="presParOf" srcId="{C7EB9403-6F06-4FA5-BBB3-F6D6FC6BAC67}" destId="{62092414-EAB9-463A-8D9B-91A3A743CCEC}" srcOrd="1" destOrd="0" presId="urn:microsoft.com/office/officeart/2008/layout/AlternatingHexagons"/>
    <dgm:cxn modelId="{A587FE68-5424-46AA-955C-92D5915E7870}" type="presParOf" srcId="{C7EB9403-6F06-4FA5-BBB3-F6D6FC6BAC67}" destId="{FEF26AA4-729E-46AB-AE37-2E2C4DAA1A4F}" srcOrd="2" destOrd="0" presId="urn:microsoft.com/office/officeart/2008/layout/AlternatingHexagons"/>
    <dgm:cxn modelId="{FC5CD7D5-0B2D-4CB9-90BC-5ED9830BA303}" type="presParOf" srcId="{C7EB9403-6F06-4FA5-BBB3-F6D6FC6BAC67}" destId="{87B22DBF-49A8-4214-ADE3-DB8660D75694}" srcOrd="3" destOrd="0" presId="urn:microsoft.com/office/officeart/2008/layout/AlternatingHexagons"/>
    <dgm:cxn modelId="{44AD7D30-C4E0-444E-9E3C-514F54272D5D}" type="presParOf" srcId="{C7EB9403-6F06-4FA5-BBB3-F6D6FC6BAC67}" destId="{36E2313D-F53B-4EB3-9DC7-24EB9A4B7A8F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95F618-3F46-40FE-AB54-ABDC68814E1C}">
      <dsp:nvSpPr>
        <dsp:cNvPr id="0" name=""/>
        <dsp:cNvSpPr/>
      </dsp:nvSpPr>
      <dsp:spPr>
        <a:xfrm>
          <a:off x="3078998" y="784150"/>
          <a:ext cx="2178413" cy="756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7017"/>
              </a:lnTo>
              <a:lnTo>
                <a:pt x="2178413" y="567017"/>
              </a:lnTo>
              <a:lnTo>
                <a:pt x="2178413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0AF645-DB45-4CC8-9E97-FBC8ECF32B5D}">
      <dsp:nvSpPr>
        <dsp:cNvPr id="0" name=""/>
        <dsp:cNvSpPr/>
      </dsp:nvSpPr>
      <dsp:spPr>
        <a:xfrm>
          <a:off x="3033278" y="784150"/>
          <a:ext cx="91440" cy="75605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6E89EB-24BE-4D1D-8441-A7A363D9D05C}">
      <dsp:nvSpPr>
        <dsp:cNvPr id="0" name=""/>
        <dsp:cNvSpPr/>
      </dsp:nvSpPr>
      <dsp:spPr>
        <a:xfrm>
          <a:off x="900584" y="784150"/>
          <a:ext cx="2178413" cy="756053"/>
        </a:xfrm>
        <a:custGeom>
          <a:avLst/>
          <a:gdLst/>
          <a:ahLst/>
          <a:cxnLst/>
          <a:rect l="0" t="0" r="0" b="0"/>
          <a:pathLst>
            <a:path>
              <a:moveTo>
                <a:pt x="2178413" y="0"/>
              </a:moveTo>
              <a:lnTo>
                <a:pt x="2178413" y="567017"/>
              </a:lnTo>
              <a:lnTo>
                <a:pt x="0" y="567017"/>
              </a:lnTo>
              <a:lnTo>
                <a:pt x="0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4C710B-AAD3-4FDE-9DB7-116B9D1C0776}">
      <dsp:nvSpPr>
        <dsp:cNvPr id="0" name=""/>
        <dsp:cNvSpPr/>
      </dsp:nvSpPr>
      <dsp:spPr>
        <a:xfrm>
          <a:off x="2178827" y="137909"/>
          <a:ext cx="1800341" cy="646241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Arial"/>
            <a:buNone/>
          </a:pPr>
          <a:r>
            <a:rPr lang="de-DE" sz="1800" kern="1200" dirty="0">
              <a:solidFill>
                <a:schemeClr val="tx1"/>
              </a:solidFill>
            </a:rPr>
            <a:t>Transport </a:t>
          </a:r>
          <a:r>
            <a:rPr lang="de-DE" sz="1800" kern="1200" dirty="0" err="1">
              <a:solidFill>
                <a:schemeClr val="tx1"/>
              </a:solidFill>
            </a:rPr>
            <a:t>entir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herd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position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78827" y="137909"/>
        <a:ext cx="1800341" cy="646241"/>
      </dsp:txXfrm>
    </dsp:sp>
    <dsp:sp modelId="{27A1F63E-023D-44DA-8371-BC00D7566CA4}">
      <dsp:nvSpPr>
        <dsp:cNvPr id="0" name=""/>
        <dsp:cNvSpPr/>
      </dsp:nvSpPr>
      <dsp:spPr>
        <a:xfrm>
          <a:off x="413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>
              <a:solidFill>
                <a:schemeClr val="tx1"/>
              </a:solidFill>
            </a:rPr>
            <a:t>Move </a:t>
          </a:r>
          <a:r>
            <a:rPr lang="de-DE" sz="1800" kern="1200" dirty="0" err="1">
              <a:solidFill>
                <a:schemeClr val="tx1"/>
              </a:solidFill>
            </a:rPr>
            <a:t>herd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</a:t>
          </a:r>
        </a:p>
      </dsp:txBody>
      <dsp:txXfrm>
        <a:off x="413" y="1540204"/>
        <a:ext cx="1800341" cy="900170"/>
      </dsp:txXfrm>
    </dsp:sp>
    <dsp:sp modelId="{7F886F2F-B8AD-4EFE-8619-8AEE2B3C7225}">
      <dsp:nvSpPr>
        <dsp:cNvPr id="0" name=""/>
        <dsp:cNvSpPr/>
      </dsp:nvSpPr>
      <dsp:spPr>
        <a:xfrm>
          <a:off x="2178827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 err="1">
              <a:solidFill>
                <a:schemeClr val="tx1"/>
              </a:solidFill>
            </a:rPr>
            <a:t>Don‘t</a:t>
          </a:r>
          <a:r>
            <a:rPr lang="de-DE" sz="1800" kern="1200" dirty="0">
              <a:solidFill>
                <a:schemeClr val="tx1"/>
              </a:solidFill>
            </a:rPr>
            <a:t> lose </a:t>
          </a:r>
          <a:r>
            <a:rPr lang="de-DE" sz="1800" kern="1200" dirty="0" err="1">
              <a:solidFill>
                <a:schemeClr val="tx1"/>
              </a:solidFill>
            </a:rPr>
            <a:t>any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agents</a:t>
          </a:r>
          <a:r>
            <a:rPr lang="de-DE" sz="1800" kern="1200" dirty="0">
              <a:solidFill>
                <a:schemeClr val="tx1"/>
              </a:solidFill>
            </a:rPr>
            <a:t> in </a:t>
          </a:r>
          <a:r>
            <a:rPr lang="de-DE" sz="1800" kern="1200" dirty="0" err="1">
              <a:solidFill>
                <a:schemeClr val="tx1"/>
              </a:solidFill>
            </a:rPr>
            <a:t>th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process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78827" y="1540204"/>
        <a:ext cx="1800341" cy="900170"/>
      </dsp:txXfrm>
    </dsp:sp>
    <dsp:sp modelId="{2D412D9C-3583-4EFB-A80C-9B846AC10124}">
      <dsp:nvSpPr>
        <dsp:cNvPr id="0" name=""/>
        <dsp:cNvSpPr/>
      </dsp:nvSpPr>
      <dsp:spPr>
        <a:xfrm>
          <a:off x="4357240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>
              <a:solidFill>
                <a:schemeClr val="tx1"/>
              </a:solidFill>
            </a:rPr>
            <a:t>Keep </a:t>
          </a:r>
          <a:r>
            <a:rPr lang="de-DE" sz="1800" kern="1200" dirty="0" err="1">
              <a:solidFill>
                <a:schemeClr val="tx1"/>
              </a:solidFill>
            </a:rPr>
            <a:t>agents</a:t>
          </a:r>
          <a:r>
            <a:rPr lang="de-DE" sz="1800" kern="1200" dirty="0">
              <a:solidFill>
                <a:schemeClr val="tx1"/>
              </a:solidFill>
            </a:rPr>
            <a:t> and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in </a:t>
          </a:r>
          <a:r>
            <a:rPr lang="de-DE" sz="1800" kern="1200" dirty="0" err="1">
              <a:solidFill>
                <a:schemeClr val="tx1"/>
              </a:solidFill>
            </a:rPr>
            <a:t>alignment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maintain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lin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of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sight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4357240" y="1540204"/>
        <a:ext cx="1800341" cy="90017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94F6CF-3C6D-449A-839A-DC3F16E2EA2F}">
      <dsp:nvSpPr>
        <dsp:cNvPr id="0" name=""/>
        <dsp:cNvSpPr/>
      </dsp:nvSpPr>
      <dsp:spPr>
        <a:xfrm rot="5400000">
          <a:off x="3437692" y="768999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Recreate</a:t>
          </a:r>
          <a:r>
            <a:rPr lang="de-DE" sz="1800" kern="1200" dirty="0"/>
            <a:t> Code in Python</a:t>
          </a:r>
        </a:p>
      </dsp:txBody>
      <dsp:txXfrm rot="-5400000">
        <a:off x="3890545" y="974081"/>
        <a:ext cx="1352070" cy="1554103"/>
      </dsp:txXfrm>
    </dsp:sp>
    <dsp:sp modelId="{48F91170-7DB7-4CBF-8BD9-0FF0747DBE74}">
      <dsp:nvSpPr>
        <dsp:cNvPr id="0" name=""/>
        <dsp:cNvSpPr/>
      </dsp:nvSpPr>
      <dsp:spPr>
        <a:xfrm>
          <a:off x="5608320" y="1073799"/>
          <a:ext cx="2519680" cy="135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BD023A-1EAB-4244-B92C-F52991F49330}">
      <dsp:nvSpPr>
        <dsp:cNvPr id="0" name=""/>
        <dsp:cNvSpPr/>
      </dsp:nvSpPr>
      <dsp:spPr>
        <a:xfrm rot="5400000">
          <a:off x="1316284" y="768999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Understand</a:t>
          </a:r>
          <a:r>
            <a:rPr lang="de-DE" sz="1800" kern="1200" dirty="0"/>
            <a:t> </a:t>
          </a:r>
          <a:r>
            <a:rPr lang="de-DE" sz="1800" kern="1200" dirty="0" err="1"/>
            <a:t>Codebase</a:t>
          </a:r>
          <a:endParaRPr lang="de-DE" sz="1800" kern="1200" dirty="0"/>
        </a:p>
      </dsp:txBody>
      <dsp:txXfrm rot="-5400000">
        <a:off x="1769137" y="974081"/>
        <a:ext cx="1352070" cy="1554103"/>
      </dsp:txXfrm>
    </dsp:sp>
    <dsp:sp modelId="{9FF396AA-33F2-455B-9413-41F0F28B328C}">
      <dsp:nvSpPr>
        <dsp:cNvPr id="0" name=""/>
        <dsp:cNvSpPr/>
      </dsp:nvSpPr>
      <dsp:spPr>
        <a:xfrm rot="5400000">
          <a:off x="2372924" y="2685401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Add </a:t>
          </a:r>
          <a:r>
            <a:rPr lang="de-DE" sz="1800" kern="1200" dirty="0" err="1"/>
            <a:t>extensions</a:t>
          </a:r>
          <a:endParaRPr lang="de-DE" sz="1800" kern="1200" dirty="0"/>
        </a:p>
      </dsp:txBody>
      <dsp:txXfrm rot="-5400000">
        <a:off x="2825777" y="2890483"/>
        <a:ext cx="1352070" cy="1554103"/>
      </dsp:txXfrm>
    </dsp:sp>
    <dsp:sp modelId="{62092414-EAB9-463A-8D9B-91A3A743CCEC}">
      <dsp:nvSpPr>
        <dsp:cNvPr id="0" name=""/>
        <dsp:cNvSpPr/>
      </dsp:nvSpPr>
      <dsp:spPr>
        <a:xfrm>
          <a:off x="0" y="2990201"/>
          <a:ext cx="2438400" cy="135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E2313D-F53B-4EB3-9DC7-24EB9A4B7A8F}">
      <dsp:nvSpPr>
        <dsp:cNvPr id="0" name=""/>
        <dsp:cNvSpPr/>
      </dsp:nvSpPr>
      <dsp:spPr>
        <a:xfrm rot="5400000">
          <a:off x="4494332" y="2685401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Find </a:t>
          </a:r>
          <a:r>
            <a:rPr lang="de-DE" sz="1800" kern="1200" dirty="0" err="1"/>
            <a:t>best</a:t>
          </a:r>
          <a:r>
            <a:rPr lang="de-DE" sz="1800" kern="1200" dirty="0"/>
            <a:t> </a:t>
          </a:r>
          <a:r>
            <a:rPr lang="de-DE" sz="1800" kern="1200" dirty="0" err="1"/>
            <a:t>parameters</a:t>
          </a:r>
          <a:endParaRPr lang="de-DE" sz="1800" kern="1200" dirty="0"/>
        </a:p>
      </dsp:txBody>
      <dsp:txXfrm rot="-5400000">
        <a:off x="4947185" y="2890483"/>
        <a:ext cx="1352070" cy="15541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7CE915-6559-44BB-855F-9CAD86852803}" type="datetimeFigureOut">
              <a:rPr lang="de-DE" smtClean="0"/>
              <a:t>07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F2FCE0-2DEB-499F-9498-5F87D9D6AF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2507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F2FCE0-2DEB-499F-9498-5F87D9D6AF9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76308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92838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7745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6847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49477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21051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0414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7753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87728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57529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44121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5382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3728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4111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3636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5817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0231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3076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45217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4322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EE5B0C-9779-4EA3-2997-5C15B656F2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4F5C2D6-67ED-1C11-A8A9-FDFFDB393F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386EE5-3B73-B613-3E97-E57313F795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7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448399-3037-2899-8136-06912B21E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DE5D70-5395-5E1C-71F0-F33C647EC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36125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178209-A427-4CC9-737A-505FF4C0D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85EDD10-CF3C-D121-3B1B-B64E4772C9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F049968-48A5-3C87-6EEF-1C7C56F2D8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7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D8B0FF-0523-7B48-2417-DB5814499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DC593A-93DF-4721-2D62-07DA5320C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1321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666260B-3A69-5DBC-C634-F78D3CDA7C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84D127B-8B72-7B9C-4FFB-C757B2FBD3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7F92BD-DD10-22A6-EC8E-D95A66E741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7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DCA1B4-EBB0-BDFB-4285-940D9D185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5ACEEB-45E7-58CA-FBD4-9D56995F7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5707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D35CEE80-9913-49B6-AD2D-CD6015DCEA1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6BB5887F-93D5-475B-917E-FCC7B89F372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Title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5070452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E87F14BC-2A89-442C-A2A4-F8C495F64EDE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CHAPTER_REFERENCE" hidden="1">
            <a:extLst>
              <a:ext uri="{FF2B5EF4-FFF2-40B4-BE49-F238E27FC236}">
                <a16:creationId xmlns:a16="http://schemas.microsoft.com/office/drawing/2014/main" id="{47AE036B-D905-4E75-9AA0-BBD4F9B323D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3" name="Title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977251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0" name="MIO_AGENDA_IGNORE_NAVIGATION" hidden="1">
            <a:extLst>
              <a:ext uri="{FF2B5EF4-FFF2-40B4-BE49-F238E27FC236}">
                <a16:creationId xmlns:a16="http://schemas.microsoft.com/office/drawing/2014/main" id="{21E6B44B-2911-4D90-ADF1-345D287BEC40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MIO_AGENDA_IGNORE_CHAPTER_REFERENCE" hidden="1">
            <a:extLst>
              <a:ext uri="{FF2B5EF4-FFF2-40B4-BE49-F238E27FC236}">
                <a16:creationId xmlns:a16="http://schemas.microsoft.com/office/drawing/2014/main" id="{D22541A4-6CCB-49E3-87E5-CEF66BC7C1D8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46414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01E527-3634-4BA5-A1E4-620B019CC35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4" name="Text Placeholder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9970BE9A-08D6-4159-A7B6-88479C7815D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MIO_AGENDA_IGNORE_CHAPTER_REFERENCE" hidden="1">
            <a:extLst>
              <a:ext uri="{FF2B5EF4-FFF2-40B4-BE49-F238E27FC236}">
                <a16:creationId xmlns:a16="http://schemas.microsoft.com/office/drawing/2014/main" id="{470398AC-9E3C-4202-BC74-310D36FEDC82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" name="Title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748269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MIO_AGENDA_IGNORE_NAVIGATION" hidden="1">
            <a:extLst>
              <a:ext uri="{FF2B5EF4-FFF2-40B4-BE49-F238E27FC236}">
                <a16:creationId xmlns:a16="http://schemas.microsoft.com/office/drawing/2014/main" id="{A2163211-8843-4B3A-A173-4CC8DE6FF39B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8F02921B-CECB-4A04-AB2B-50AE546A3B6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8625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B33AFD28-F06F-4496-B660-E40557BF44B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IGNORE_CHAPTER_REFERENCE" hidden="1">
            <a:extLst>
              <a:ext uri="{FF2B5EF4-FFF2-40B4-BE49-F238E27FC236}">
                <a16:creationId xmlns:a16="http://schemas.microsoft.com/office/drawing/2014/main" id="{9233F6B7-3A6D-4D1B-A7FB-196EDC508EE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882A5C28-0BF5-4D8F-94C9-8EE9CE72457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8F3C3DFA-9FB3-46AB-BDF5-39E1DC27293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6FC1D4-487D-4C1C-A92F-A0C6E30EA16B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2311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8361DA31-7C99-49AA-A40D-CC798429750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D1BC51F7-D24C-4262-85CD-7EFD0E8E4885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7D770CEC-7A1C-4675-B9F6-4684B6BC5EE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32612B95-CBCE-43BD-ACD5-F7E8E28AD6C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997DD9-C2E6-4412-906F-CEA396FE065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742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0837ED46-4108-4499-BE40-E17599CFD67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BD69D7E4-8FB7-4417-A428-3FC842962DF0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EE7151CE-534A-4DA8-B077-606246FFE4A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F6D2D6D-4A12-45B7-A359-4B35E6BD19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5B17B4-6589-41B3-A983-093BB26C9BC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594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CFDE8B-36AF-80BC-EE2E-16ABEAFEB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C0A5153-9BC8-92BC-DD6F-90BBD26870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1B7A74-789B-A92F-37EA-09C1A720D9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7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026930-3817-1CC2-5009-54A09AA6F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892714-E6C2-1E8F-51E7-1A5915CD2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60145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9FC4547F-C195-4067-8008-B68776595B5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12EACD47-41DE-4CD2-A21A-14DBE7C985A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6354E020-0B8B-4490-8FBE-69D3AA2C5D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775EE3B-1424-455C-B471-9011952BEC3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004DD8-5CCD-47AF-881E-102D039801F2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8766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27CF3F4C-5874-4930-8527-36305B15F57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BBDF0290-19AC-4946-8A62-805CF2CCDC9C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CaseCode">
            <a:extLst>
              <a:ext uri="{FF2B5EF4-FFF2-40B4-BE49-F238E27FC236}">
                <a16:creationId xmlns:a16="http://schemas.microsoft.com/office/drawing/2014/main" id="{A5F15993-9A11-497E-9B56-FBC6CFC14D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688FFC8-7352-479D-AA3C-FD6DC60CED1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829B2D-FBA8-486E-BA8A-D44EBE6D7A73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6706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CAC30FC8-4769-493E-8A50-EE686BE7D3B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A86122FE-538F-4A32-A4D5-095A77004C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8543C88E-E176-4291-8A87-994374277F5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2A178BA9-7781-4CBD-AA26-059841B96E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DB4A35-A981-4070-976E-FF0B78FCCF1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02630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C01345-8637-49F7-B27A-1F3623D0EA4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537F287-C3D9-41AB-A895-877ED68E01DE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3937E4FF-E016-44F3-AD4A-BD40518CEB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0F3F35D-F2C2-4AB4-B366-EEC863736AF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DB589F-A6FF-45A0-9279-59580FC81C96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58830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2ACF0E-68DE-4019-9B26-9765BBDE1FC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8170BC7A-230F-4CFF-B510-7C11B6B6B3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11B7F5CA-811D-4AE2-962B-BF8A99E307A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EB031C3-69E1-4133-9550-E7CB21DD10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089A2F-E1F6-41D3-964D-CBD86C232A5E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20796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BE26B797-9949-48A3-976D-A898E3C18E4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4E60C47-69F3-4ABA-80FD-E5DF82E7BA1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09112F48-72C6-45E5-A1E0-1581DF24E1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A22A7399-BED7-4421-B384-26835214549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BAD39A-8E4D-4CED-BFA6-6A113684235A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74466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7583F471-57B6-4DAA-89A7-6E0D0C078BF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D1E299B4-0A88-451E-904B-278ECCE2D8C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486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17947515"/>
      </p:ext>
    </p:extLst>
  </p:cSld>
  <p:clrMapOvr>
    <a:masterClrMapping/>
  </p:clrMapOvr>
  <p:transition>
    <p:fade/>
  </p:transition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97217509"/>
      </p:ext>
    </p:extLst>
  </p:cSld>
  <p:clrMapOvr>
    <a:masterClrMapping/>
  </p:clrMapOvr>
  <p:transition>
    <p:fade/>
  </p:transition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upper right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8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left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2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right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339E1B40-A4E1-44DD-A0AE-DAB851381F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199848"/>
      </p:ext>
    </p:extLst>
  </p:cSld>
  <p:clrMapOvr>
    <a:masterClrMapping/>
  </p:clrMapOvr>
  <p:transition>
    <p:fade/>
  </p:transition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E9423C-595F-B7DE-8BD0-F92B87FE4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51EDCA-9C1F-36C3-3ACA-3A4E2F53C2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FEF7775-98F4-057D-74CB-B3CBA47FF9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7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F4A4C4-B0C2-B11E-4907-6622CA82D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765CEC1-FCE5-5AD4-C5CD-E742B20722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6423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8980469"/>
      </p:ext>
    </p:extLst>
  </p:cSld>
  <p:clrMapOvr>
    <a:masterClrMapping/>
  </p:clrMapOvr>
  <p:transition>
    <p:fade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left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right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8437786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8596431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Chart Title / Headline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bottom">
            <a:extLst>
              <a:ext uri="{FF2B5EF4-FFF2-40B4-BE49-F238E27FC236}">
                <a16:creationId xmlns:a16="http://schemas.microsoft.com/office/drawing/2014/main" id="{4B6E095B-6E26-41E6-AFC8-FF16F0C3C8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436835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Chart Title / Headline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Content left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673085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Title right / Headline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left"/>
          <p:cNvSpPr>
            <a:spLocks noGrp="1"/>
          </p:cNvSpPr>
          <p:nvPr>
            <p:ph type="chart" sz="quarter" idx="24"/>
          </p:nvPr>
        </p:nvSpPr>
        <p:spPr>
          <a:xfrm>
            <a:off x="460271" y="2115775"/>
            <a:ext cx="5480304" cy="39960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Chart Title left / Headline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hart Placeholder right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6608925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017119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Left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371945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left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Chart Title left / Headline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Chart Placeholder center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0" name="Chart Title center / Headline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hart Placeholder right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2" name="Chart Title right / Headline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4" name="Title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1451293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bottom left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bottom center left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bottom center right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bottom right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534471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FEC01D-9E4A-A3B6-65C0-3825F8F6AA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687633-4A66-4BC7-6120-722EC1B5E9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E23D67D-0EBD-F767-1F39-B06F77C036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B0ECF1-A56A-4ED7-43D3-BEA60D921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7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B341865-32D7-D5D9-F995-8E1C555F1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631D415-62EE-AF6E-6E15-24BD69037A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2314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upper left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upper right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bottom left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bottom right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Subtitle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1748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left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right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Picture left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0883534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3808537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075510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itle ( as Text PH)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ubtitle ( as Text PH)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683506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Subtitle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5964882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middle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center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right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78639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left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center right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center left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right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620951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left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ext center right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0" name="Text center left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Text right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aseCode">
            <a:extLst>
              <a:ext uri="{FF2B5EF4-FFF2-40B4-BE49-F238E27FC236}">
                <a16:creationId xmlns:a16="http://schemas.microsoft.com/office/drawing/2014/main" id="{80722BCF-EAC6-4563-95CB-8DBE842E9D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900FBF6-54F6-4B67-A1F3-CFB545048C2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68D3198-C277-4239-A0FE-263D3F9A09A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17923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8" name="Text top left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9" name="Text top right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0" name="Text bottom left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1" name="Text bottom right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36631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AD72B7-5058-5133-7CFE-5E343C00C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C94835-D373-8DA6-651A-5C9A478232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D3BBFA-AD95-0E13-6EF5-A4A64CBA0F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6BB9A80-373E-F727-3800-08BF4F3854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D11283F-EBD5-E144-4C12-EFC44FA2CE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DB5DAD4-05BF-D04A-65AC-C07661068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7.01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99E5D2D-635B-3F4C-7B54-42735AC59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EC08986-68EA-14BF-94CA-1527B9137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8502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MIO_AGENDA_LAST_SLIDE" hidden="1">
            <a:extLst>
              <a:ext uri="{FF2B5EF4-FFF2-40B4-BE49-F238E27FC236}">
                <a16:creationId xmlns:a16="http://schemas.microsoft.com/office/drawing/2014/main" id="{249491D1-41CC-455A-8F05-5CEA24B33A18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NAVIGATION" hidden="1">
            <a:extLst>
              <a:ext uri="{FF2B5EF4-FFF2-40B4-BE49-F238E27FC236}">
                <a16:creationId xmlns:a16="http://schemas.microsoft.com/office/drawing/2014/main" id="{9518ECE1-C45A-4DB9-B0F0-E67A14C77DA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642E351A-DEBD-43E5-AD67-7FEDF79D24F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CD62DBCE-A9B0-4246-A41B-735C969CF0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0804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MIO_AGENDA_LAST_SLIDE" hidden="1">
            <a:extLst>
              <a:ext uri="{FF2B5EF4-FFF2-40B4-BE49-F238E27FC236}">
                <a16:creationId xmlns:a16="http://schemas.microsoft.com/office/drawing/2014/main" id="{4DE01233-0E5B-4D44-9AA0-8C2FAEC3AA99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C544D53A-D969-4D8A-9227-FE63C48016F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73E0B1A6-781D-43D1-9647-99C9EAE528B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E527060D-3343-49A1-9B3C-60374CE0CF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197703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57200" y="1714500"/>
            <a:ext cx="5638799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6D36862-655E-4012-828B-77C9C50E5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0FBE14FE-8368-48A9-9469-038784957BD4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79949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F614DE80-8C7B-4676-9D35-D659766837C7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9D7CC3-2CA9-46E2-81C1-FB4543CB2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902917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83AF7E6C-5496-4190-AE22-49321A84B469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VALID_LAYOUT" hidden="1">
            <a:extLst>
              <a:ext uri="{FF2B5EF4-FFF2-40B4-BE49-F238E27FC236}">
                <a16:creationId xmlns:a16="http://schemas.microsoft.com/office/drawing/2014/main" id="{636C7600-5E54-4871-BD57-39F7D85C964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A5342FA-67EE-4ADC-9C59-3703A4E3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2343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MIO_VALID_LAYOUT" hidden="1">
            <a:extLst>
              <a:ext uri="{FF2B5EF4-FFF2-40B4-BE49-F238E27FC236}">
                <a16:creationId xmlns:a16="http://schemas.microsoft.com/office/drawing/2014/main" id="{EDA56DE6-A1BA-458D-8E96-17188D541BFA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2A54FD-069B-4D28-8BAD-8C8AADEED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218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60887" y="1714500"/>
            <a:ext cx="11277598" cy="46481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C4C53B51-12E9-46AC-A69D-84DDBEA6B078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EC1E235-3062-4F03-8411-7E415A894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7471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4509" y="2080551"/>
            <a:ext cx="11281285" cy="40404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Headline / Chart title"/>
          <p:cNvSpPr>
            <a:spLocks noGrp="1"/>
          </p:cNvSpPr>
          <p:nvPr>
            <p:ph type="body" sz="quarter" idx="18"/>
          </p:nvPr>
        </p:nvSpPr>
        <p:spPr>
          <a:xfrm>
            <a:off x="457200" y="1723364"/>
            <a:ext cx="11288595" cy="3571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9C5E24D-2264-4B37-BBC9-253349E5F4FF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599738-D568-49F1-87EE-956C570FD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76631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57038" y="2136645"/>
            <a:ext cx="5381445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57041" y="1714500"/>
            <a:ext cx="538144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887" y="2136645"/>
            <a:ext cx="5372330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0887" y="1714500"/>
            <a:ext cx="537480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C2140F0C-FA1D-42CA-9599-41C4E3B59FD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C52FF8-2BD1-46C1-8105-1A5862154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255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0887" y="2064085"/>
            <a:ext cx="3552881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Headline left / Chart title"/>
          <p:cNvSpPr>
            <a:spLocks noGrp="1"/>
          </p:cNvSpPr>
          <p:nvPr>
            <p:ph type="body" sz="quarter" idx="18"/>
          </p:nvPr>
        </p:nvSpPr>
        <p:spPr>
          <a:xfrm>
            <a:off x="460887" y="1714500"/>
            <a:ext cx="355231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17849" y="2064085"/>
            <a:ext cx="3567833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Headline center / Chart title"/>
          <p:cNvSpPr>
            <a:spLocks noGrp="1"/>
          </p:cNvSpPr>
          <p:nvPr>
            <p:ph type="body" sz="quarter" idx="20"/>
          </p:nvPr>
        </p:nvSpPr>
        <p:spPr>
          <a:xfrm>
            <a:off x="4317847" y="1714500"/>
            <a:ext cx="356783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67555" y="2064085"/>
            <a:ext cx="3552886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Headline right / Chart title"/>
          <p:cNvSpPr>
            <a:spLocks noGrp="1"/>
          </p:cNvSpPr>
          <p:nvPr>
            <p:ph type="body" sz="quarter" idx="22"/>
          </p:nvPr>
        </p:nvSpPr>
        <p:spPr>
          <a:xfrm>
            <a:off x="8167555" y="1714500"/>
            <a:ext cx="3552886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8DE0E4EB-2CC6-4FB2-8DAE-A99F30E30E6D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B8D8EA-18D3-4433-A2E1-2A9E61E55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8531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223778-4C37-0D90-F505-9A28723F5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01E455B-39D6-9E29-6931-7EE939D63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7.0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FABB72C-ED0D-87BF-F669-EC3031E11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623494-E1CD-CF7A-9677-0BCBA9707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2165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A25958E-1139-CF0F-B099-004A9A562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7.01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37230A-1EA1-E628-B5BD-99DB4C3A9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D70B7B-6E95-EEFC-E96F-CE25147A2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904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437916-8E9E-857C-DC20-3350BDAA2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F40702A-330C-5C7E-1907-5494A3415D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9B74CD-2984-2636-EC15-A291C18157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48AAECF-A7B9-8F4A-9BEC-6844B70F08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7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B17B6F-162B-382E-644A-2E1F505F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E6FF94F-CB19-524B-6BC1-000B8A509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844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4799C2-9EEF-21B9-FCC2-202FCC50C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57289FA-F3AB-9A87-E101-052F2B75C1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F5F9253-FB6A-4C28-B1DB-D2BB3B5633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DF5CCFC-E67F-8259-0501-1095190F86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7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1E48A9C-CAC5-F443-0926-AB076FECC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955176F-6D7D-5344-A978-1D9306581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15329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ags" Target="../tags/tag1.xml"/><Relationship Id="rId55" Type="http://schemas.openxmlformats.org/officeDocument/2006/relationships/image" Target="../media/image1.bin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9C9B0AD-B397-B7F8-652F-057E07FAC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C97EAC-974A-7817-8FCD-BBE0D2372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E5C228-3454-2110-F24D-35EA5DC4C1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42C742-0D0B-441D-9413-6B64D1F25131}" type="datetimeFigureOut">
              <a:rPr lang="de-DE" smtClean="0"/>
              <a:t>07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3639F9-4C62-7DB6-192D-C9977E90A2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B4B804C-3D3C-C048-E59E-A53F497F95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1569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28FFD4C-A54A-44BE-B5F8-0D7EBAA5FD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83087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425" imgH="426" progId="TCLayout.ActiveDocument.1">
                  <p:embed/>
                </p:oleObj>
              </mc:Choice>
              <mc:Fallback>
                <p:oleObj name="think-cell Slide" r:id="rId54" imgW="425" imgH="4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28FFD4C-A54A-44BE-B5F8-0D7EBAA5FD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>
            <p:custDataLst>
              <p:tags r:id="rId51"/>
            </p:custDataLst>
          </p:nvPr>
        </p:nvSpPr>
        <p:spPr>
          <a:xfrm>
            <a:off x="6335184" y="6519673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lective </a:t>
            </a:r>
            <a:r>
              <a:rPr lang="en-US" sz="9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haviour</a:t>
            </a: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Optimal Shepherding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empower - DO NOT DELETE!!!">
            <a:extLst>
              <a:ext uri="{FF2B5EF4-FFF2-40B4-BE49-F238E27FC236}">
                <a16:creationId xmlns:a16="http://schemas.microsoft.com/office/drawing/2014/main" id="{AF3F685E-75BA-4AAC-8247-5B8C55DC34A1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010D3BDB-9505-4DFA-9DF5-8ABBE694D4C1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4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267300" indent="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None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6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9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21.png"/><Relationship Id="rId4" Type="http://schemas.openxmlformats.org/officeDocument/2006/relationships/diagramData" Target="../diagrams/data1.xml"/><Relationship Id="rId9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0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1.xml"/><Relationship Id="rId6" Type="http://schemas.openxmlformats.org/officeDocument/2006/relationships/image" Target="../media/image22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video" Target="../media/media1.mp4"/><Relationship Id="rId7" Type="http://schemas.openxmlformats.org/officeDocument/2006/relationships/image" Target="../media/image7.svg"/><Relationship Id="rId2" Type="http://schemas.microsoft.com/office/2007/relationships/media" Target="../media/media1.mp4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video" Target="../media/media2.mp4"/><Relationship Id="rId7" Type="http://schemas.openxmlformats.org/officeDocument/2006/relationships/image" Target="../media/image7.svg"/><Relationship Id="rId2" Type="http://schemas.microsoft.com/office/2007/relationships/media" Target="../media/media2.mp4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video" Target="../media/media3.mp4"/><Relationship Id="rId7" Type="http://schemas.openxmlformats.org/officeDocument/2006/relationships/image" Target="../media/image7.svg"/><Relationship Id="rId2" Type="http://schemas.microsoft.com/office/2007/relationships/media" Target="../media/media3.mp4"/><Relationship Id="rId1" Type="http://schemas.openxmlformats.org/officeDocument/2006/relationships/tags" Target="../tags/tag34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4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29.sv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3.svg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6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9.svg"/><Relationship Id="rId10" Type="http://schemas.openxmlformats.org/officeDocument/2006/relationships/image" Target="../media/image16.png"/><Relationship Id="rId4" Type="http://schemas.openxmlformats.org/officeDocument/2006/relationships/image" Target="../media/image8.png"/><Relationship Id="rId9" Type="http://schemas.openxmlformats.org/officeDocument/2006/relationships/image" Target="../media/image27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7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8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9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video" Target="../media/media4.mp4"/><Relationship Id="rId2" Type="http://schemas.microsoft.com/office/2007/relationships/media" Target="../media/media4.mp4"/><Relationship Id="rId1" Type="http://schemas.openxmlformats.org/officeDocument/2006/relationships/tags" Target="../tags/tag40.xml"/><Relationship Id="rId6" Type="http://schemas.openxmlformats.org/officeDocument/2006/relationships/image" Target="../media/image36.png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4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video" Target="../media/media5.mp4"/><Relationship Id="rId2" Type="http://schemas.microsoft.com/office/2007/relationships/media" Target="../media/media5.mp4"/><Relationship Id="rId1" Type="http://schemas.openxmlformats.org/officeDocument/2006/relationships/tags" Target="../tags/tag41.xml"/><Relationship Id="rId6" Type="http://schemas.openxmlformats.org/officeDocument/2006/relationships/image" Target="../media/image37.png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4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4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3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43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3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8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66" name="Rectangle 1057">
            <a:extLst>
              <a:ext uri="{FF2B5EF4-FFF2-40B4-BE49-F238E27FC236}">
                <a16:creationId xmlns:a16="http://schemas.microsoft.com/office/drawing/2014/main" id="{0671A8AE-40A1-4631-A6B8-581AFF065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B2F26092-70FC-F90C-3506-A1D8911A6A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25" t="9091" r="24968" b="1"/>
          <a:stretch/>
        </p:blipFill>
        <p:spPr>
          <a:xfrm>
            <a:off x="3523488" y="10"/>
            <a:ext cx="8668512" cy="6857990"/>
          </a:xfrm>
          <a:prstGeom prst="rect">
            <a:avLst/>
          </a:prstGeom>
        </p:spPr>
      </p:pic>
      <p:sp>
        <p:nvSpPr>
          <p:cNvPr id="1067" name="Rectangle 1059">
            <a:extLst>
              <a:ext uri="{FF2B5EF4-FFF2-40B4-BE49-F238E27FC236}">
                <a16:creationId xmlns:a16="http://schemas.microsoft.com/office/drawing/2014/main" id="{AB58EF07-17C2-48CF-ABB0-EEF1F17CB8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" y="0"/>
            <a:ext cx="9339206" cy="6858000"/>
          </a:xfrm>
          <a:prstGeom prst="rect">
            <a:avLst/>
          </a:prstGeom>
          <a:gradFill>
            <a:gsLst>
              <a:gs pos="58000">
                <a:schemeClr val="tx1"/>
              </a:gs>
              <a:gs pos="33000">
                <a:schemeClr val="tx1">
                  <a:alpha val="64000"/>
                </a:schemeClr>
              </a:gs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D5AE22C-798B-B165-2939-91B01C1ED0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980" y="1122363"/>
            <a:ext cx="4642659" cy="3204134"/>
          </a:xfrm>
        </p:spPr>
        <p:txBody>
          <a:bodyPr anchor="b">
            <a:normAutofit/>
          </a:bodyPr>
          <a:lstStyle/>
          <a:p>
            <a:pPr algn="l"/>
            <a:r>
              <a:rPr lang="de-DE" sz="4400" dirty="0">
                <a:solidFill>
                  <a:schemeClr val="bg1"/>
                </a:solidFill>
              </a:rPr>
              <a:t>Collective </a:t>
            </a:r>
            <a:r>
              <a:rPr lang="de-DE" sz="4400" dirty="0" err="1">
                <a:solidFill>
                  <a:schemeClr val="bg1"/>
                </a:solidFill>
              </a:rPr>
              <a:t>Behavior</a:t>
            </a:r>
            <a:br>
              <a:rPr lang="de-DE" sz="4400" dirty="0">
                <a:solidFill>
                  <a:schemeClr val="bg1"/>
                </a:solidFill>
              </a:rPr>
            </a:br>
            <a:br>
              <a:rPr lang="de-DE" sz="4400" dirty="0">
                <a:solidFill>
                  <a:schemeClr val="bg1"/>
                </a:solidFill>
              </a:rPr>
            </a:br>
            <a:r>
              <a:rPr lang="de-DE" sz="4400" dirty="0">
                <a:solidFill>
                  <a:schemeClr val="bg1"/>
                </a:solidFill>
              </a:rPr>
              <a:t>Optimal </a:t>
            </a:r>
            <a:r>
              <a:rPr lang="de-DE" sz="4400" dirty="0" err="1">
                <a:solidFill>
                  <a:schemeClr val="bg1"/>
                </a:solidFill>
              </a:rPr>
              <a:t>Shepherding</a:t>
            </a:r>
            <a:r>
              <a:rPr lang="de-DE" sz="4400" dirty="0">
                <a:solidFill>
                  <a:schemeClr val="bg1"/>
                </a:solidFill>
              </a:rPr>
              <a:t> </a:t>
            </a:r>
            <a:br>
              <a:rPr lang="de-DE" sz="4400" dirty="0">
                <a:solidFill>
                  <a:schemeClr val="bg1"/>
                </a:solidFill>
              </a:rPr>
            </a:br>
            <a:endParaRPr lang="de-DE" sz="4400" dirty="0">
              <a:solidFill>
                <a:schemeClr val="bg1"/>
              </a:solidFill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D291BB2-1F94-0500-9122-540BE66E8D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7980" y="4872922"/>
            <a:ext cx="4023359" cy="1208141"/>
          </a:xfrm>
        </p:spPr>
        <p:txBody>
          <a:bodyPr>
            <a:normAutofit fontScale="70000" lnSpcReduction="20000"/>
          </a:bodyPr>
          <a:lstStyle/>
          <a:p>
            <a:pPr algn="l"/>
            <a:r>
              <a:rPr lang="de-DE" sz="2000" dirty="0">
                <a:solidFill>
                  <a:schemeClr val="bg1"/>
                </a:solidFill>
              </a:rPr>
              <a:t>Franziska Weber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Franz Muszarsky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Kimberley Frings</a:t>
            </a:r>
          </a:p>
          <a:p>
            <a:pPr algn="l"/>
            <a:endParaRPr lang="de-DE" sz="2000" dirty="0">
              <a:solidFill>
                <a:schemeClr val="bg1"/>
              </a:solidFill>
            </a:endParaRPr>
          </a:p>
          <a:p>
            <a:pPr algn="l"/>
            <a:r>
              <a:rPr lang="de-DE" sz="2000" dirty="0" err="1">
                <a:solidFill>
                  <a:schemeClr val="bg1"/>
                </a:solidFill>
              </a:rPr>
              <a:t>Iztok</a:t>
            </a:r>
            <a:r>
              <a:rPr lang="de-DE" sz="2000" dirty="0">
                <a:solidFill>
                  <a:schemeClr val="bg1"/>
                </a:solidFill>
              </a:rPr>
              <a:t> </a:t>
            </a:r>
            <a:r>
              <a:rPr lang="de-DE" sz="2000" dirty="0" err="1">
                <a:solidFill>
                  <a:schemeClr val="bg1"/>
                </a:solidFill>
              </a:rPr>
              <a:t>Lebar</a:t>
            </a:r>
            <a:r>
              <a:rPr lang="de-DE" sz="2000" dirty="0">
                <a:solidFill>
                  <a:schemeClr val="bg1"/>
                </a:solidFill>
              </a:rPr>
              <a:t> </a:t>
            </a:r>
            <a:r>
              <a:rPr lang="de-DE" sz="2000" dirty="0" err="1">
                <a:solidFill>
                  <a:schemeClr val="bg1"/>
                </a:solidFill>
              </a:rPr>
              <a:t>Bajec</a:t>
            </a:r>
            <a:r>
              <a:rPr lang="de-DE" sz="2000" dirty="0">
                <a:solidFill>
                  <a:schemeClr val="bg1"/>
                </a:solidFill>
              </a:rPr>
              <a:t> | </a:t>
            </a:r>
            <a:r>
              <a:rPr lang="de-DE" sz="2000" dirty="0" err="1">
                <a:solidFill>
                  <a:schemeClr val="bg1"/>
                </a:solidFill>
              </a:rPr>
              <a:t>izredni</a:t>
            </a:r>
            <a:r>
              <a:rPr lang="de-DE" sz="2000" dirty="0">
                <a:solidFill>
                  <a:schemeClr val="bg1"/>
                </a:solidFill>
              </a:rPr>
              <a:t> </a:t>
            </a:r>
            <a:r>
              <a:rPr lang="de-DE" sz="2000" dirty="0" err="1">
                <a:solidFill>
                  <a:schemeClr val="bg1"/>
                </a:solidFill>
              </a:rPr>
              <a:t>professor</a:t>
            </a:r>
            <a:r>
              <a:rPr lang="de-DE" sz="2000" dirty="0">
                <a:solidFill>
                  <a:schemeClr val="bg1"/>
                </a:solidFill>
              </a:rPr>
              <a:t> | </a:t>
            </a:r>
            <a:r>
              <a:rPr lang="de-DE" sz="2000" dirty="0" err="1">
                <a:solidFill>
                  <a:schemeClr val="bg1"/>
                </a:solidFill>
              </a:rPr>
              <a:t>mento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068" name="Rectangle 1061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69" name="Rectangle 1063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70876EC-0C76-110D-C1CA-54E2E043E4D4}"/>
              </a:ext>
            </a:extLst>
          </p:cNvPr>
          <p:cNvSpPr/>
          <p:nvPr/>
        </p:nvSpPr>
        <p:spPr>
          <a:xfrm>
            <a:off x="370114" y="468086"/>
            <a:ext cx="1099457" cy="34656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87149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1319095"/>
            <a:ext cx="1916935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A38"/>
                </a:solidFill>
              </a:rPr>
              <a:t>Shepherd </a:t>
            </a:r>
            <a:r>
              <a:rPr lang="de-DE" sz="1600" b="1" dirty="0" err="1">
                <a:solidFill>
                  <a:srgbClr val="046A38"/>
                </a:solidFill>
              </a:rPr>
              <a:t>Behaviou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56864" y="685274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Model Description – </a:t>
            </a:r>
            <a:r>
              <a:rPr lang="de-DE" dirty="0" err="1"/>
              <a:t>Behaviou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Shepherd</a:t>
            </a:r>
          </a:p>
        </p:txBody>
      </p:sp>
      <p:graphicFrame>
        <p:nvGraphicFramePr>
          <p:cNvPr id="31" name="Diagramm 30">
            <a:extLst>
              <a:ext uri="{FF2B5EF4-FFF2-40B4-BE49-F238E27FC236}">
                <a16:creationId xmlns:a16="http://schemas.microsoft.com/office/drawing/2014/main" id="{79E2F5BB-7DEE-DDE3-64E0-3EA8495E2D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2376448"/>
              </p:ext>
            </p:extLst>
          </p:nvPr>
        </p:nvGraphicFramePr>
        <p:xfrm>
          <a:off x="4880118" y="2023169"/>
          <a:ext cx="6157996" cy="29562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3" name="Grafik 32">
            <a:extLst>
              <a:ext uri="{FF2B5EF4-FFF2-40B4-BE49-F238E27FC236}">
                <a16:creationId xmlns:a16="http://schemas.microsoft.com/office/drawing/2014/main" id="{43322946-35CD-0361-3190-CA074111757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80118" y="4841460"/>
            <a:ext cx="5601629" cy="552566"/>
          </a:xfrm>
          <a:prstGeom prst="rect">
            <a:avLst/>
          </a:prstGeom>
        </p:spPr>
      </p:pic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8D79201D-EFDE-BCA4-6B55-F22FD3C8DA7C}"/>
              </a:ext>
            </a:extLst>
          </p:cNvPr>
          <p:cNvSpPr/>
          <p:nvPr/>
        </p:nvSpPr>
        <p:spPr bwMode="gray">
          <a:xfrm>
            <a:off x="1012371" y="2096516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>
                <a:solidFill>
                  <a:schemeClr val="bg1"/>
                </a:solidFill>
              </a:rPr>
              <a:t>Goal</a:t>
            </a:r>
          </a:p>
        </p:txBody>
      </p:sp>
      <p:sp>
        <p:nvSpPr>
          <p:cNvPr id="39" name="Pfeil: nach rechts 38">
            <a:extLst>
              <a:ext uri="{FF2B5EF4-FFF2-40B4-BE49-F238E27FC236}">
                <a16:creationId xmlns:a16="http://schemas.microsoft.com/office/drawing/2014/main" id="{EEB9BFC7-5B27-9FD5-0734-20D86F11AF6E}"/>
              </a:ext>
            </a:extLst>
          </p:cNvPr>
          <p:cNvSpPr/>
          <p:nvPr/>
        </p:nvSpPr>
        <p:spPr bwMode="gray">
          <a:xfrm>
            <a:off x="1012371" y="3501302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 err="1">
                <a:solidFill>
                  <a:schemeClr val="bg1"/>
                </a:solidFill>
              </a:rPr>
              <a:t>Conditions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0" name="Pfeil: nach rechts 39">
            <a:extLst>
              <a:ext uri="{FF2B5EF4-FFF2-40B4-BE49-F238E27FC236}">
                <a16:creationId xmlns:a16="http://schemas.microsoft.com/office/drawing/2014/main" id="{1C6122EE-11D0-BD89-349D-9B7245D338E6}"/>
              </a:ext>
            </a:extLst>
          </p:cNvPr>
          <p:cNvSpPr/>
          <p:nvPr/>
        </p:nvSpPr>
        <p:spPr bwMode="gray">
          <a:xfrm>
            <a:off x="1012371" y="4906088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 err="1">
                <a:solidFill>
                  <a:schemeClr val="bg1"/>
                </a:solidFill>
              </a:rPr>
              <a:t>Objective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r>
              <a:rPr lang="de-DE" sz="1600" b="1" dirty="0" err="1">
                <a:solidFill>
                  <a:schemeClr val="bg1"/>
                </a:solidFill>
              </a:rPr>
              <a:t>Function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F36ABF0-8C14-E8DD-E350-1EB2DA3F2DBC}"/>
              </a:ext>
            </a:extLst>
          </p:cNvPr>
          <p:cNvSpPr/>
          <p:nvPr/>
        </p:nvSpPr>
        <p:spPr bwMode="gray">
          <a:xfrm>
            <a:off x="5000328" y="3548742"/>
            <a:ext cx="1534886" cy="845469"/>
          </a:xfrm>
          <a:prstGeom prst="rect">
            <a:avLst/>
          </a:prstGeom>
          <a:solidFill>
            <a:srgbClr val="26890D">
              <a:alpha val="33000"/>
            </a:srgbClr>
          </a:solidFill>
          <a:ln w="19050" algn="ctr">
            <a:solidFill>
              <a:srgbClr val="26890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403614F-4A78-24EB-B07B-C857ECA79B0D}"/>
              </a:ext>
            </a:extLst>
          </p:cNvPr>
          <p:cNvSpPr/>
          <p:nvPr/>
        </p:nvSpPr>
        <p:spPr bwMode="gray">
          <a:xfrm>
            <a:off x="6008914" y="4906087"/>
            <a:ext cx="1328057" cy="487939"/>
          </a:xfrm>
          <a:prstGeom prst="rect">
            <a:avLst/>
          </a:prstGeom>
          <a:solidFill>
            <a:srgbClr val="26890D">
              <a:alpha val="33000"/>
            </a:srgbClr>
          </a:solidFill>
          <a:ln w="19050" algn="ctr">
            <a:solidFill>
              <a:srgbClr val="26890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E6F99B7-A3D1-E830-EC06-6147F3A6275E}"/>
              </a:ext>
            </a:extLst>
          </p:cNvPr>
          <p:cNvSpPr/>
          <p:nvPr/>
        </p:nvSpPr>
        <p:spPr bwMode="gray">
          <a:xfrm>
            <a:off x="7191673" y="3548742"/>
            <a:ext cx="1534886" cy="845469"/>
          </a:xfrm>
          <a:prstGeom prst="rect">
            <a:avLst/>
          </a:prstGeom>
          <a:solidFill>
            <a:srgbClr val="0D8390">
              <a:alpha val="33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5359745C-4FE4-BC79-1EFD-8FD065AFDAEC}"/>
              </a:ext>
            </a:extLst>
          </p:cNvPr>
          <p:cNvSpPr/>
          <p:nvPr/>
        </p:nvSpPr>
        <p:spPr bwMode="gray">
          <a:xfrm>
            <a:off x="7565572" y="4906087"/>
            <a:ext cx="1160988" cy="487939"/>
          </a:xfrm>
          <a:prstGeom prst="rect">
            <a:avLst/>
          </a:prstGeom>
          <a:solidFill>
            <a:srgbClr val="0D8390">
              <a:alpha val="33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939BC81F-3A2B-8F1E-1DA5-C43C9B448FDC}"/>
              </a:ext>
            </a:extLst>
          </p:cNvPr>
          <p:cNvSpPr/>
          <p:nvPr/>
        </p:nvSpPr>
        <p:spPr bwMode="gray">
          <a:xfrm>
            <a:off x="8904514" y="4906087"/>
            <a:ext cx="1596255" cy="487939"/>
          </a:xfrm>
          <a:prstGeom prst="rect">
            <a:avLst/>
          </a:prstGeom>
          <a:solidFill>
            <a:srgbClr val="E3E48D">
              <a:alpha val="33000"/>
            </a:srgbClr>
          </a:solidFill>
          <a:ln w="19050" algn="ctr">
            <a:solidFill>
              <a:srgbClr val="E3E48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232437A-4C9C-BEFF-089A-CF797924E7E9}"/>
              </a:ext>
            </a:extLst>
          </p:cNvPr>
          <p:cNvSpPr/>
          <p:nvPr/>
        </p:nvSpPr>
        <p:spPr bwMode="gray">
          <a:xfrm>
            <a:off x="9166312" y="3548742"/>
            <a:ext cx="2043776" cy="973280"/>
          </a:xfrm>
          <a:prstGeom prst="rect">
            <a:avLst/>
          </a:prstGeom>
          <a:solidFill>
            <a:srgbClr val="E3E48D">
              <a:alpha val="33000"/>
            </a:srgbClr>
          </a:solidFill>
          <a:ln w="19050" algn="ctr">
            <a:solidFill>
              <a:srgbClr val="E3E48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D864F50-BB06-AAFE-6D95-1BDE5D2C08AE}"/>
                  </a:ext>
                </a:extLst>
              </p:cNvPr>
              <p:cNvSpPr txBox="1"/>
              <p:nvPr/>
            </p:nvSpPr>
            <p:spPr>
              <a:xfrm>
                <a:off x="5000328" y="5721534"/>
                <a:ext cx="282667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de-DE" b="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W</a:t>
                </a:r>
                <a:r>
                  <a:rPr lang="de-DE" b="0" baseline="-2500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mean</a:t>
                </a:r>
                <a:r>
                  <a:rPr lang="de-DE" b="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, W</a:t>
                </a:r>
                <a:r>
                  <a:rPr lang="de-DE" baseline="-2500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std</a:t>
                </a:r>
                <a:r>
                  <a:rPr lang="de-DE" b="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, W</a:t>
                </a:r>
                <a:r>
                  <a:rPr lang="de-DE" baseline="-2500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col</a:t>
                </a:r>
                <a14:m>
                  <m:oMath xmlns:m="http://schemas.openxmlformats.org/officeDocument/2006/math"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𝑎𝑟𝑒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𝑤𝑒𝑖𝑔h𝑡𝑠</m:t>
                    </m:r>
                  </m:oMath>
                </a14:m>
                <a:endParaRPr lang="de-DE" dirty="0">
                  <a:solidFill>
                    <a:srgbClr val="313131"/>
                  </a:solidFill>
                </a:endParaRPr>
              </a:p>
            </p:txBody>
          </p:sp>
        </mc:Choice>
        <mc:Fallback xmlns="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D864F50-BB06-AAFE-6D95-1BDE5D2C08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0328" y="5721534"/>
                <a:ext cx="2826671" cy="276999"/>
              </a:xfrm>
              <a:prstGeom prst="rect">
                <a:avLst/>
              </a:prstGeom>
              <a:blipFill>
                <a:blip r:embed="rId10"/>
                <a:stretch>
                  <a:fillRect l="-4957" t="-28889" r="-3017" b="-511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5512862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 animBg="1"/>
      <p:bldP spid="54" grpId="0" animBg="1"/>
      <p:bldP spid="56" grpId="0" animBg="1"/>
      <p:bldP spid="57" grpId="0" animBg="1"/>
      <p:bldP spid="5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a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br>
              <a:rPr lang="de-DE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3808036"/>
            <a:ext cx="2160000" cy="3560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86BC25"/>
                </a:solidFill>
                <a:latin typeface="Calibri"/>
              </a:rPr>
              <a:t>Extens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147023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hepherd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Findings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A3DBA363-6E56-5B6E-B950-B4FBA0627617}"/>
              </a:ext>
            </a:extLst>
          </p:cNvPr>
          <p:cNvGrpSpPr/>
          <p:nvPr/>
        </p:nvGrpSpPr>
        <p:grpSpPr>
          <a:xfrm>
            <a:off x="2727084" y="1215812"/>
            <a:ext cx="7783011" cy="4753638"/>
            <a:chOff x="1797884" y="1215232"/>
            <a:chExt cx="7783011" cy="4753638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B28F2581-73C8-915D-7DE8-455BF5B4F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797884" y="1215232"/>
              <a:ext cx="7783011" cy="4753638"/>
            </a:xfrm>
            <a:prstGeom prst="rect">
              <a:avLst/>
            </a:prstGeom>
          </p:spPr>
        </p:pic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D168EE7-BE64-F879-9496-3DECB34EDE50}"/>
                </a:ext>
              </a:extLst>
            </p:cNvPr>
            <p:cNvSpPr/>
            <p:nvPr/>
          </p:nvSpPr>
          <p:spPr bwMode="gray">
            <a:xfrm>
              <a:off x="8067040" y="3139440"/>
              <a:ext cx="1513855" cy="2503328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de-DE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2484832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Droving</a:t>
            </a:r>
            <a:endParaRPr lang="de-DE" sz="1300" dirty="0"/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3869148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Mustering</a:t>
            </a:r>
            <a:endParaRPr lang="de-DE" sz="1300" dirty="0"/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46559" y="5253463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Driving</a:t>
            </a:r>
            <a:endParaRPr lang="de-DE" sz="13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77690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hepherd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Video: </a:t>
            </a:r>
            <a:r>
              <a:rPr lang="de-DE" dirty="0" err="1"/>
              <a:t>Droving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2" name="drovingplot">
            <a:hlinkClick r:id="" action="ppaction://media"/>
            <a:extLst>
              <a:ext uri="{FF2B5EF4-FFF2-40B4-BE49-F238E27FC236}">
                <a16:creationId xmlns:a16="http://schemas.microsoft.com/office/drawing/2014/main" id="{B1A27E17-BA45-DDD7-513A-2552B19939B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75920" y="996380"/>
            <a:ext cx="11043920" cy="55219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54483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93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hepherd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Video: </a:t>
            </a:r>
            <a:r>
              <a:rPr lang="de-DE" dirty="0" err="1"/>
              <a:t>Mustering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10" name="output_movie (1)">
            <a:hlinkClick r:id="" action="ppaction://media"/>
            <a:extLst>
              <a:ext uri="{FF2B5EF4-FFF2-40B4-BE49-F238E27FC236}">
                <a16:creationId xmlns:a16="http://schemas.microsoft.com/office/drawing/2014/main" id="{84BB9B66-6F5E-C3C8-54D8-F422B40167ED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25120" y="1127760"/>
            <a:ext cx="10698480" cy="53492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97172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934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hepherd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Video: </a:t>
            </a:r>
            <a:r>
              <a:rPr lang="de-DE" dirty="0" err="1"/>
              <a:t>Driving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2" name="drivingplot">
            <a:hlinkClick r:id="" action="ppaction://media"/>
            <a:extLst>
              <a:ext uri="{FF2B5EF4-FFF2-40B4-BE49-F238E27FC236}">
                <a16:creationId xmlns:a16="http://schemas.microsoft.com/office/drawing/2014/main" id="{FA1FDCC5-6B79-41AD-CBD5-F40FD5D42772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94640" y="1008900"/>
            <a:ext cx="10646370" cy="54680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183184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6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a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br>
              <a:rPr lang="de-DE" dirty="0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3808036"/>
            <a:ext cx="2160000" cy="3560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46A38"/>
                </a:solidFill>
                <a:latin typeface="Calibri"/>
              </a:rPr>
              <a:t>T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198099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0" dirty="0">
                <a:effectLst/>
                <a:latin typeface="Arial" panose="020B0604020202020204" pitchFamily="34" charset="0"/>
              </a:rPr>
              <a:t>*</a:t>
            </a:r>
            <a:r>
              <a:rPr lang="en-US" sz="1100" i="1" dirty="0">
                <a:solidFill>
                  <a:srgbClr val="1F2328"/>
                </a:solidFill>
                <a:latin typeface="-apple-system"/>
              </a:rPr>
              <a:t>Baxter D, Garratt M, </a:t>
            </a:r>
            <a:r>
              <a:rPr lang="en-US" sz="1100" i="1" dirty="0" err="1">
                <a:solidFill>
                  <a:srgbClr val="1F2328"/>
                </a:solidFill>
                <a:latin typeface="-apple-system"/>
              </a:rPr>
              <a:t>Abbass</a:t>
            </a:r>
            <a:r>
              <a:rPr lang="en-US" sz="1100" i="1" dirty="0">
                <a:solidFill>
                  <a:srgbClr val="1F2328"/>
                </a:solidFill>
                <a:latin typeface="-apple-system"/>
              </a:rPr>
              <a:t> HA (2021) Simulating single and multiple sheepdogs guidance of a sheep swarm</a:t>
            </a:r>
            <a:r>
              <a:rPr lang="en-US" sz="1100" b="0" i="0" dirty="0">
                <a:effectLst/>
                <a:latin typeface="Arial" panose="020B0604020202020204" pitchFamily="34" charset="0"/>
              </a:rPr>
              <a:t>. </a:t>
            </a:r>
            <a:endParaRPr lang="en-US" sz="1100" b="0" i="0" dirty="0">
              <a:solidFill>
                <a:srgbClr val="1F2328"/>
              </a:solidFill>
              <a:effectLst/>
              <a:latin typeface="-apple-system"/>
            </a:endParaRPr>
          </a:p>
        </p:txBody>
      </p:sp>
      <p:sp>
        <p:nvSpPr>
          <p:cNvPr id="67" name="Hexagon 74">
            <a:extLst>
              <a:ext uri="{FF2B5EF4-FFF2-40B4-BE49-F238E27FC236}">
                <a16:creationId xmlns:a16="http://schemas.microsoft.com/office/drawing/2014/main" id="{E2F8176D-B747-452F-D065-45513620ED20}"/>
              </a:ext>
            </a:extLst>
          </p:cNvPr>
          <p:cNvSpPr/>
          <p:nvPr/>
        </p:nvSpPr>
        <p:spPr bwMode="gray">
          <a:xfrm>
            <a:off x="971597" y="1534265"/>
            <a:ext cx="2337923" cy="1997710"/>
          </a:xfrm>
          <a:prstGeom prst="hexagon">
            <a:avLst/>
          </a:prstGeom>
          <a:solidFill>
            <a:srgbClr val="0D839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4794186" y="2559537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D8390"/>
                </a:solidFill>
              </a:rPr>
              <a:t>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F0BA4A35-13AD-4882-2EA3-0B84B8F36571}"/>
              </a:ext>
            </a:extLst>
          </p:cNvPr>
          <p:cNvSpPr/>
          <p:nvPr/>
        </p:nvSpPr>
        <p:spPr>
          <a:xfrm>
            <a:off x="3032126" y="3252254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chemeClr val="bg1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Model </a:t>
            </a:r>
            <a:r>
              <a:rPr lang="de-DE" dirty="0" err="1"/>
              <a:t>Extensions</a:t>
            </a:r>
            <a:endParaRPr lang="de-DE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1D1C584-48C8-9E60-AF82-1FC5FDE43095}"/>
              </a:ext>
            </a:extLst>
          </p:cNvPr>
          <p:cNvSpPr txBox="1">
            <a:spLocks/>
          </p:cNvSpPr>
          <p:nvPr/>
        </p:nvSpPr>
        <p:spPr bwMode="gray">
          <a:xfrm>
            <a:off x="10121069" y="-632032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Group 134">
            <a:extLst>
              <a:ext uri="{FF2B5EF4-FFF2-40B4-BE49-F238E27FC236}">
                <a16:creationId xmlns:a16="http://schemas.microsoft.com/office/drawing/2014/main" id="{716D3267-EB0D-EF4E-667B-D3F0D0A6E3F6}"/>
              </a:ext>
            </a:extLst>
          </p:cNvPr>
          <p:cNvGrpSpPr/>
          <p:nvPr/>
        </p:nvGrpSpPr>
        <p:grpSpPr>
          <a:xfrm>
            <a:off x="10343752" y="-1599267"/>
            <a:ext cx="1598523" cy="2005765"/>
            <a:chOff x="6763077" y="1602865"/>
            <a:chExt cx="1598523" cy="2005765"/>
          </a:xfrm>
        </p:grpSpPr>
        <p:sp>
          <p:nvSpPr>
            <p:cNvPr id="11" name="Teardrop 135">
              <a:extLst>
                <a:ext uri="{FF2B5EF4-FFF2-40B4-BE49-F238E27FC236}">
                  <a16:creationId xmlns:a16="http://schemas.microsoft.com/office/drawing/2014/main" id="{01E1E537-E5B1-F9C9-F75A-6040394E28F6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342E966E-E0B6-BAFE-8053-7B7D840516D3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Oval 138">
              <a:extLst>
                <a:ext uri="{FF2B5EF4-FFF2-40B4-BE49-F238E27FC236}">
                  <a16:creationId xmlns:a16="http://schemas.microsoft.com/office/drawing/2014/main" id="{6D5B0AA2-343A-1C7E-C76E-962217F150AC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4" name="Grafik 13" descr="Ambition mit einfarbiger Füllung">
            <a:extLst>
              <a:ext uri="{FF2B5EF4-FFF2-40B4-BE49-F238E27FC236}">
                <a16:creationId xmlns:a16="http://schemas.microsoft.com/office/drawing/2014/main" id="{8A869A74-2184-9A62-719A-CFEAA19163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08634" y="-1285227"/>
            <a:ext cx="792000" cy="792000"/>
          </a:xfrm>
          <a:prstGeom prst="rect">
            <a:avLst/>
          </a:prstGeom>
        </p:spPr>
      </p:pic>
      <p:pic>
        <p:nvPicPr>
          <p:cNvPr id="29" name="Grafik 28" descr="Schaf mit einfarbiger Füllung">
            <a:extLst>
              <a:ext uri="{FF2B5EF4-FFF2-40B4-BE49-F238E27FC236}">
                <a16:creationId xmlns:a16="http://schemas.microsoft.com/office/drawing/2014/main" id="{8E7CE5BC-87FA-316F-357A-8681B7DFBB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83358" y="1845528"/>
            <a:ext cx="914400" cy="914400"/>
          </a:xfrm>
          <a:prstGeom prst="rect">
            <a:avLst/>
          </a:prstGeom>
        </p:spPr>
      </p:pic>
      <p:pic>
        <p:nvPicPr>
          <p:cNvPr id="31" name="Grafik 30" descr="Schaf mit einfarbiger Füllung">
            <a:extLst>
              <a:ext uri="{FF2B5EF4-FFF2-40B4-BE49-F238E27FC236}">
                <a16:creationId xmlns:a16="http://schemas.microsoft.com/office/drawing/2014/main" id="{5C2E3F93-960A-71DC-6EE3-82105DDA17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50768" y="2229826"/>
            <a:ext cx="914400" cy="914400"/>
          </a:xfrm>
          <a:prstGeom prst="rect">
            <a:avLst/>
          </a:prstGeom>
        </p:spPr>
      </p:pic>
      <p:pic>
        <p:nvPicPr>
          <p:cNvPr id="33" name="Grafik 32" descr="Schaf mit einfarbiger Füllung">
            <a:extLst>
              <a:ext uri="{FF2B5EF4-FFF2-40B4-BE49-F238E27FC236}">
                <a16:creationId xmlns:a16="http://schemas.microsoft.com/office/drawing/2014/main" id="{7577E88E-E329-5F3B-6AB5-7283D2D8BC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89321" y="2250594"/>
            <a:ext cx="914400" cy="914400"/>
          </a:xfrm>
          <a:prstGeom prst="rect">
            <a:avLst/>
          </a:prstGeom>
        </p:spPr>
      </p:pic>
      <p:pic>
        <p:nvPicPr>
          <p:cNvPr id="38" name="Grafik 37" descr="Zaun mit einfarbiger Füllung">
            <a:extLst>
              <a:ext uri="{FF2B5EF4-FFF2-40B4-BE49-F238E27FC236}">
                <a16:creationId xmlns:a16="http://schemas.microsoft.com/office/drawing/2014/main" id="{2E48D220-2761-5CE2-28C1-14B3168D7B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26158" y="2455232"/>
            <a:ext cx="914400" cy="914400"/>
          </a:xfrm>
          <a:prstGeom prst="rect">
            <a:avLst/>
          </a:prstGeom>
        </p:spPr>
      </p:pic>
      <p:pic>
        <p:nvPicPr>
          <p:cNvPr id="40" name="Grafik 39" descr="Zaun mit einfarbiger Füllung">
            <a:extLst>
              <a:ext uri="{FF2B5EF4-FFF2-40B4-BE49-F238E27FC236}">
                <a16:creationId xmlns:a16="http://schemas.microsoft.com/office/drawing/2014/main" id="{21A284CD-BF51-73F1-31A5-F3E0EAD2C2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91354" y="2455232"/>
            <a:ext cx="914400" cy="914400"/>
          </a:xfrm>
          <a:prstGeom prst="rect">
            <a:avLst/>
          </a:prstGeom>
        </p:spPr>
      </p:pic>
      <p:sp>
        <p:nvSpPr>
          <p:cNvPr id="41" name="Rectangle 78">
            <a:extLst>
              <a:ext uri="{FF2B5EF4-FFF2-40B4-BE49-F238E27FC236}">
                <a16:creationId xmlns:a16="http://schemas.microsoft.com/office/drawing/2014/main" id="{FE7C0328-569D-4FF6-EFE2-F5C1D8CFBD55}"/>
              </a:ext>
            </a:extLst>
          </p:cNvPr>
          <p:cNvSpPr/>
          <p:nvPr/>
        </p:nvSpPr>
        <p:spPr>
          <a:xfrm>
            <a:off x="1807344" y="1183055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Fence </a:t>
            </a:r>
          </a:p>
        </p:txBody>
      </p:sp>
      <p:sp>
        <p:nvSpPr>
          <p:cNvPr id="42" name="Hexagon 74">
            <a:extLst>
              <a:ext uri="{FF2B5EF4-FFF2-40B4-BE49-F238E27FC236}">
                <a16:creationId xmlns:a16="http://schemas.microsoft.com/office/drawing/2014/main" id="{9DB6B5AD-BEC3-DD7E-605C-7F82370CA033}"/>
              </a:ext>
            </a:extLst>
          </p:cNvPr>
          <p:cNvSpPr/>
          <p:nvPr/>
        </p:nvSpPr>
        <p:spPr bwMode="gray">
          <a:xfrm>
            <a:off x="4729133" y="1534265"/>
            <a:ext cx="2337923" cy="1997710"/>
          </a:xfrm>
          <a:prstGeom prst="hexagon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543B92FA-8FF3-07CA-B86A-2D61CF706D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56498" y="1779708"/>
            <a:ext cx="914400" cy="914400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BEEFDFC-D7C0-B8A6-585A-DC1E2DFF522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750790" y="2261841"/>
            <a:ext cx="914400" cy="914400"/>
          </a:xfrm>
          <a:prstGeom prst="rect">
            <a:avLst/>
          </a:prstGeom>
        </p:spPr>
      </p:pic>
      <p:sp>
        <p:nvSpPr>
          <p:cNvPr id="45" name="Rectangle 78">
            <a:extLst>
              <a:ext uri="{FF2B5EF4-FFF2-40B4-BE49-F238E27FC236}">
                <a16:creationId xmlns:a16="http://schemas.microsoft.com/office/drawing/2014/main" id="{6ABA3660-A532-E6B9-5B79-0FB628765CFF}"/>
              </a:ext>
            </a:extLst>
          </p:cNvPr>
          <p:cNvSpPr/>
          <p:nvPr/>
        </p:nvSpPr>
        <p:spPr>
          <a:xfrm>
            <a:off x="4729133" y="1183055"/>
            <a:ext cx="28219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A38"/>
                </a:solidFill>
              </a:rPr>
              <a:t>Second/multiple </a:t>
            </a:r>
            <a:r>
              <a:rPr lang="de-DE" sz="1600" b="1" dirty="0" err="1">
                <a:solidFill>
                  <a:srgbClr val="046A38"/>
                </a:solidFill>
              </a:rPr>
              <a:t>shepherds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47" name="Rectangle 79">
            <a:extLst>
              <a:ext uri="{FF2B5EF4-FFF2-40B4-BE49-F238E27FC236}">
                <a16:creationId xmlns:a16="http://schemas.microsoft.com/office/drawing/2014/main" id="{FBECF220-E6F1-2EAB-99A8-9FE44FB50BCA}"/>
              </a:ext>
            </a:extLst>
          </p:cNvPr>
          <p:cNvSpPr/>
          <p:nvPr/>
        </p:nvSpPr>
        <p:spPr>
          <a:xfrm>
            <a:off x="664655" y="4049033"/>
            <a:ext cx="341815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dirty="0">
                <a:solidFill>
                  <a:prstClr val="black"/>
                </a:solidFill>
              </a:rPr>
              <a:t>Min/Max  x and y </a:t>
            </a:r>
            <a:r>
              <a:rPr lang="de-DE" sz="1600" dirty="0" err="1">
                <a:solidFill>
                  <a:prstClr val="black"/>
                </a:solidFill>
              </a:rPr>
              <a:t>coordinates</a:t>
            </a: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Rectangle 79">
            <a:extLst>
              <a:ext uri="{FF2B5EF4-FFF2-40B4-BE49-F238E27FC236}">
                <a16:creationId xmlns:a16="http://schemas.microsoft.com/office/drawing/2014/main" id="{14849DD2-A8AE-D96B-8038-D4FAD3AB65DB}"/>
              </a:ext>
            </a:extLst>
          </p:cNvPr>
          <p:cNvSpPr/>
          <p:nvPr/>
        </p:nvSpPr>
        <p:spPr>
          <a:xfrm>
            <a:off x="4316414" y="4049033"/>
            <a:ext cx="341815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pulsion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between</a:t>
            </a: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de-DE" sz="1600" dirty="0">
                <a:solidFill>
                  <a:prstClr val="black"/>
                </a:solidFill>
              </a:rPr>
              <a:t>S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hepherds</a:t>
            </a:r>
            <a:endParaRPr kumimoji="0" lang="de-DE" sz="1600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noProof="0" dirty="0">
                <a:solidFill>
                  <a:prstClr val="black"/>
                </a:solidFill>
              </a:rPr>
              <a:t>Repulsion </a:t>
            </a:r>
            <a:r>
              <a:rPr lang="de-DE" sz="1600" noProof="0" dirty="0" err="1">
                <a:solidFill>
                  <a:prstClr val="black"/>
                </a:solidFill>
              </a:rPr>
              <a:t>of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dirty="0">
                <a:solidFill>
                  <a:prstClr val="black"/>
                </a:solidFill>
              </a:rPr>
              <a:t>A</a:t>
            </a:r>
            <a:r>
              <a:rPr lang="de-DE" sz="1600" noProof="0" dirty="0" err="1">
                <a:solidFill>
                  <a:prstClr val="black"/>
                </a:solidFill>
              </a:rPr>
              <a:t>gent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a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sum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of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each</a:t>
            </a:r>
            <a:r>
              <a:rPr lang="de-DE" sz="1600" noProof="0" dirty="0">
                <a:solidFill>
                  <a:prstClr val="black"/>
                </a:solidFill>
              </a:rPr>
              <a:t> individual </a:t>
            </a:r>
            <a:r>
              <a:rPr lang="de-DE" sz="1600" noProof="0" dirty="0" err="1">
                <a:solidFill>
                  <a:prstClr val="black"/>
                </a:solidFill>
              </a:rPr>
              <a:t>shepheard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repulsion</a:t>
            </a:r>
            <a:endParaRPr lang="de-DE" sz="1600" noProof="0" dirty="0">
              <a:solidFill>
                <a:prstClr val="black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Grafik 2" descr="Hund mit einfarbiger Füllung">
            <a:extLst>
              <a:ext uri="{FF2B5EF4-FFF2-40B4-BE49-F238E27FC236}">
                <a16:creationId xmlns:a16="http://schemas.microsoft.com/office/drawing/2014/main" id="{7466CC84-5B50-EDCC-0B35-F392C74E27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78279" y="2169871"/>
            <a:ext cx="914400" cy="914400"/>
          </a:xfrm>
          <a:prstGeom prst="rect">
            <a:avLst/>
          </a:prstGeom>
        </p:spPr>
      </p:pic>
      <p:sp>
        <p:nvSpPr>
          <p:cNvPr id="4" name="Hexagon 74">
            <a:extLst>
              <a:ext uri="{FF2B5EF4-FFF2-40B4-BE49-F238E27FC236}">
                <a16:creationId xmlns:a16="http://schemas.microsoft.com/office/drawing/2014/main" id="{7DCC6D1D-BD84-B066-5FE4-B8CF7982AAB5}"/>
              </a:ext>
            </a:extLst>
          </p:cNvPr>
          <p:cNvSpPr/>
          <p:nvPr/>
        </p:nvSpPr>
        <p:spPr bwMode="gray">
          <a:xfrm>
            <a:off x="8460143" y="1534265"/>
            <a:ext cx="2337923" cy="1997710"/>
          </a:xfrm>
          <a:prstGeom prst="hexagon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62C75566-46F9-F8DE-FA80-D852E3F3829A}"/>
              </a:ext>
            </a:extLst>
          </p:cNvPr>
          <p:cNvSpPr/>
          <p:nvPr/>
        </p:nvSpPr>
        <p:spPr>
          <a:xfrm>
            <a:off x="10520672" y="3252254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chemeClr val="bg1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7" name="Rectangle 78">
            <a:extLst>
              <a:ext uri="{FF2B5EF4-FFF2-40B4-BE49-F238E27FC236}">
                <a16:creationId xmlns:a16="http://schemas.microsoft.com/office/drawing/2014/main" id="{3A970D2A-E1D5-89DB-FABF-698B55331099}"/>
              </a:ext>
            </a:extLst>
          </p:cNvPr>
          <p:cNvSpPr/>
          <p:nvPr/>
        </p:nvSpPr>
        <p:spPr>
          <a:xfrm>
            <a:off x="9024674" y="1183055"/>
            <a:ext cx="26381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noProof="0" dirty="0" err="1"/>
              <a:t>Comparison</a:t>
            </a:r>
            <a:r>
              <a:rPr lang="de-DE" sz="1600" b="1" noProof="0" dirty="0"/>
              <a:t>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" name="Rectangle 79">
            <a:extLst>
              <a:ext uri="{FF2B5EF4-FFF2-40B4-BE49-F238E27FC236}">
                <a16:creationId xmlns:a16="http://schemas.microsoft.com/office/drawing/2014/main" id="{CC1F1408-F491-9157-88FB-DC0D89AB7B7D}"/>
              </a:ext>
            </a:extLst>
          </p:cNvPr>
          <p:cNvSpPr/>
          <p:nvPr/>
        </p:nvSpPr>
        <p:spPr>
          <a:xfrm>
            <a:off x="8153201" y="4049033"/>
            <a:ext cx="3418159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mplementation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f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nother</a:t>
            </a: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Model*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comparison</a:t>
            </a:r>
            <a:endParaRPr lang="de-DE" sz="16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dirty="0">
                <a:solidFill>
                  <a:prstClr val="black"/>
                </a:solidFill>
              </a:rPr>
              <a:t>Model </a:t>
            </a:r>
            <a:r>
              <a:rPr lang="de-DE" sz="1600" dirty="0" err="1">
                <a:solidFill>
                  <a:prstClr val="black"/>
                </a:solidFill>
              </a:rPr>
              <a:t>shepherds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as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agent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with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defined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movement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function</a:t>
            </a:r>
            <a:endParaRPr lang="de-DE" sz="16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20" name="Grafik 19" descr="Waage der Justitia mit einfarbiger Füllung">
            <a:extLst>
              <a:ext uri="{FF2B5EF4-FFF2-40B4-BE49-F238E27FC236}">
                <a16:creationId xmlns:a16="http://schemas.microsoft.com/office/drawing/2014/main" id="{30976525-8E2B-4A59-A593-B0F8405C24B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109186" y="1931930"/>
            <a:ext cx="1091460" cy="10914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884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5" grpId="0"/>
      <p:bldP spid="47" grpId="0"/>
      <p:bldP spid="48" grpId="0"/>
      <p:bldP spid="4" grpId="0" animBg="1"/>
      <p:bldP spid="17" grpId="0"/>
      <p:bldP spid="1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br>
              <a:rPr lang="de-DE" dirty="0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3808036"/>
            <a:ext cx="2160000" cy="3560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</a:t>
            </a: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93194424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Results</a:t>
            </a:r>
            <a:br>
              <a:rPr lang="de-DE" dirty="0"/>
            </a:br>
            <a:endParaRPr lang="de-DE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2452532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/>
              <a:t>Without</a:t>
            </a:r>
            <a:r>
              <a:rPr lang="de-DE" sz="1600" b="1" dirty="0"/>
              <a:t> Fenc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78">
            <a:extLst>
              <a:ext uri="{FF2B5EF4-FFF2-40B4-BE49-F238E27FC236}">
                <a16:creationId xmlns:a16="http://schemas.microsoft.com/office/drawing/2014/main" id="{102BE184-A4DB-F3CC-D338-155B20FE7FD2}"/>
              </a:ext>
            </a:extLst>
          </p:cNvPr>
          <p:cNvSpPr/>
          <p:nvPr/>
        </p:nvSpPr>
        <p:spPr>
          <a:xfrm>
            <a:off x="8251448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/>
              <a:t>With</a:t>
            </a:r>
            <a:r>
              <a:rPr lang="de-DE" sz="1600" b="1" dirty="0"/>
              <a:t> Fenc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BA6AA1A0-AAFE-2DFF-17CA-F1670ACFB2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8507" y="2162467"/>
            <a:ext cx="5617340" cy="376547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7992E46B-B1F7-B48E-43CA-CFE370DD17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99545" y="2161437"/>
            <a:ext cx="5528267" cy="3712367"/>
          </a:xfrm>
          <a:prstGeom prst="rect">
            <a:avLst/>
          </a:prstGeom>
        </p:spPr>
      </p:pic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8969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EA4DC629-1293-B17B-696A-081BDEA564C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25" t="9091" r="24968" b="1"/>
          <a:stretch/>
        </p:blipFill>
        <p:spPr>
          <a:xfrm>
            <a:off x="3156857" y="10"/>
            <a:ext cx="9035143" cy="685799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DCBB8FB6-E719-E096-2886-43174433BCC7}"/>
              </a:ext>
            </a:extLst>
          </p:cNvPr>
          <p:cNvSpPr/>
          <p:nvPr/>
        </p:nvSpPr>
        <p:spPr>
          <a:xfrm>
            <a:off x="-10886" y="3"/>
            <a:ext cx="10414726" cy="6857989"/>
          </a:xfrm>
          <a:prstGeom prst="rect">
            <a:avLst/>
          </a:prstGeom>
          <a:gradFill flip="none" rotWithShape="1">
            <a:gsLst>
              <a:gs pos="38000">
                <a:schemeClr val="accent3">
                  <a:lumMod val="0"/>
                  <a:lumOff val="100000"/>
                </a:schemeClr>
              </a:gs>
              <a:gs pos="100000">
                <a:srgbClr val="FFFFFF">
                  <a:alpha val="0"/>
                </a:srgbClr>
              </a:gs>
              <a:gs pos="78000">
                <a:schemeClr val="bg1">
                  <a:alpha val="1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1AFF8405-AB67-6CDD-70D8-1B34064B7023}"/>
              </a:ext>
            </a:extLst>
          </p:cNvPr>
          <p:cNvSpPr txBox="1">
            <a:spLocks/>
          </p:cNvSpPr>
          <p:nvPr/>
        </p:nvSpPr>
        <p:spPr>
          <a:xfrm>
            <a:off x="477980" y="1635759"/>
            <a:ext cx="4642659" cy="197842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Optimal </a:t>
            </a:r>
            <a:r>
              <a:rPr lang="de-DE" dirty="0" err="1"/>
              <a:t>Shepherding</a:t>
            </a:r>
            <a:r>
              <a:rPr lang="de-DE" dirty="0"/>
              <a:t> </a:t>
            </a:r>
            <a:br>
              <a:rPr lang="de-DE" dirty="0"/>
            </a:br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7178983B-BC49-3245-F391-D15DA1BE485D}"/>
              </a:ext>
            </a:extLst>
          </p:cNvPr>
          <p:cNvSpPr txBox="1">
            <a:spLocks/>
          </p:cNvSpPr>
          <p:nvPr/>
        </p:nvSpPr>
        <p:spPr>
          <a:xfrm>
            <a:off x="477980" y="3386103"/>
            <a:ext cx="4023359" cy="12081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dirty="0"/>
              <a:t>Franziska Weber</a:t>
            </a:r>
            <a:br>
              <a:rPr lang="de-DE" sz="2000" dirty="0"/>
            </a:br>
            <a:r>
              <a:rPr lang="de-DE" sz="2000" dirty="0"/>
              <a:t>Franz Muszarsky</a:t>
            </a:r>
            <a:br>
              <a:rPr lang="de-DE" sz="2000" dirty="0"/>
            </a:br>
            <a:r>
              <a:rPr lang="de-DE" sz="2000" dirty="0"/>
              <a:t>Kimberley Fring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2BCAE0-6508-CBF3-A393-95F642DD42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469" y="122090"/>
            <a:ext cx="1609950" cy="1000265"/>
          </a:xfrm>
          <a:prstGeom prst="rect">
            <a:avLst/>
          </a:prstGeom>
        </p:spPr>
      </p:pic>
      <p:sp>
        <p:nvSpPr>
          <p:cNvPr id="9" name="Untertitel 2">
            <a:extLst>
              <a:ext uri="{FF2B5EF4-FFF2-40B4-BE49-F238E27FC236}">
                <a16:creationId xmlns:a16="http://schemas.microsoft.com/office/drawing/2014/main" id="{93129565-80FD-E2AD-FB90-242AB301947B}"/>
              </a:ext>
            </a:extLst>
          </p:cNvPr>
          <p:cNvSpPr txBox="1">
            <a:spLocks/>
          </p:cNvSpPr>
          <p:nvPr/>
        </p:nvSpPr>
        <p:spPr>
          <a:xfrm>
            <a:off x="477980" y="5771938"/>
            <a:ext cx="4023359" cy="12081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dirty="0"/>
              <a:t>Collective </a:t>
            </a:r>
            <a:r>
              <a:rPr lang="de-DE" sz="1600" dirty="0" err="1"/>
              <a:t>Behaviour</a:t>
            </a:r>
            <a:endParaRPr lang="de-DE" sz="1600" dirty="0"/>
          </a:p>
          <a:p>
            <a:pPr marL="0" indent="0">
              <a:buNone/>
            </a:pPr>
            <a:r>
              <a:rPr lang="de-DE" sz="1600" dirty="0" err="1"/>
              <a:t>Iztok</a:t>
            </a:r>
            <a:r>
              <a:rPr lang="de-DE" sz="1600" dirty="0"/>
              <a:t> </a:t>
            </a:r>
            <a:r>
              <a:rPr lang="de-DE" sz="1600" dirty="0" err="1"/>
              <a:t>Lebar</a:t>
            </a:r>
            <a:r>
              <a:rPr lang="de-DE" sz="1600" dirty="0"/>
              <a:t> </a:t>
            </a:r>
            <a:r>
              <a:rPr lang="de-DE" sz="1600" dirty="0" err="1"/>
              <a:t>Bajec</a:t>
            </a:r>
            <a:r>
              <a:rPr lang="de-DE" sz="1600" dirty="0"/>
              <a:t> | </a:t>
            </a:r>
            <a:r>
              <a:rPr lang="de-DE" sz="1600" dirty="0" err="1"/>
              <a:t>izredni</a:t>
            </a:r>
            <a:r>
              <a:rPr lang="de-DE" sz="1600" dirty="0"/>
              <a:t> </a:t>
            </a:r>
            <a:r>
              <a:rPr lang="de-DE" sz="1600" dirty="0" err="1"/>
              <a:t>professor</a:t>
            </a:r>
            <a:r>
              <a:rPr lang="de-DE" sz="1600" dirty="0"/>
              <a:t> | </a:t>
            </a:r>
            <a:r>
              <a:rPr lang="de-DE" sz="1600" dirty="0" err="1"/>
              <a:t>mentor</a:t>
            </a: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3835831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Results</a:t>
            </a:r>
            <a:br>
              <a:rPr lang="de-DE" dirty="0"/>
            </a:br>
            <a:endParaRPr lang="de-DE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2452532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noProof="0" dirty="0" err="1"/>
              <a:t>One</a:t>
            </a:r>
            <a:r>
              <a:rPr lang="de-DE" sz="1600" b="1" noProof="0" dirty="0"/>
              <a:t> Shepherd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78">
            <a:extLst>
              <a:ext uri="{FF2B5EF4-FFF2-40B4-BE49-F238E27FC236}">
                <a16:creationId xmlns:a16="http://schemas.microsoft.com/office/drawing/2014/main" id="{102BE184-A4DB-F3CC-D338-155B20FE7FD2}"/>
              </a:ext>
            </a:extLst>
          </p:cNvPr>
          <p:cNvSpPr/>
          <p:nvPr/>
        </p:nvSpPr>
        <p:spPr>
          <a:xfrm>
            <a:off x="8019954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wo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Shepherds 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285C8617-B593-B0AF-FB74-C1DCE977DD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0363" y="2426224"/>
            <a:ext cx="4362027" cy="3146379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978B9A25-9188-7445-09AD-A17420A4F1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73201" y="2402005"/>
            <a:ext cx="1388927" cy="1490556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8B1B91C5-16AF-6CB4-6FB5-17C8498BB2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3335" y="2764020"/>
            <a:ext cx="3934374" cy="2896004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7DC2957D-FC66-AE87-A96E-337BE1150B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30577" y="2380689"/>
            <a:ext cx="1523034" cy="16257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728206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Video: </a:t>
            </a:r>
            <a:r>
              <a:rPr lang="de-DE" dirty="0" err="1"/>
              <a:t>Two</a:t>
            </a:r>
            <a:r>
              <a:rPr lang="de-DE" dirty="0"/>
              <a:t> Shepherds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F90E714-4E76-642B-E1C6-1220157283D2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oup 139">
            <a:extLst>
              <a:ext uri="{FF2B5EF4-FFF2-40B4-BE49-F238E27FC236}">
                <a16:creationId xmlns:a16="http://schemas.microsoft.com/office/drawing/2014/main" id="{950F4A08-663E-0A87-E8AC-E2F6DFA4E07D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0" name="Teardrop 140">
              <a:extLst>
                <a:ext uri="{FF2B5EF4-FFF2-40B4-BE49-F238E27FC236}">
                  <a16:creationId xmlns:a16="http://schemas.microsoft.com/office/drawing/2014/main" id="{FDD57E79-ED58-19D8-5A77-2E7E232D0B54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39">
              <a:extLst>
                <a:ext uri="{FF2B5EF4-FFF2-40B4-BE49-F238E27FC236}">
                  <a16:creationId xmlns:a16="http://schemas.microsoft.com/office/drawing/2014/main" id="{A33BFC2A-73CB-1394-0184-097929942B71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2" name="Group 925">
              <a:extLst>
                <a:ext uri="{FF2B5EF4-FFF2-40B4-BE49-F238E27FC236}">
                  <a16:creationId xmlns:a16="http://schemas.microsoft.com/office/drawing/2014/main" id="{2D0F594B-12F7-33FD-1794-B14696632A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" name="Freeform 926">
                <a:extLst>
                  <a:ext uri="{FF2B5EF4-FFF2-40B4-BE49-F238E27FC236}">
                    <a16:creationId xmlns:a16="http://schemas.microsoft.com/office/drawing/2014/main" id="{32C125A4-199E-B125-ECFF-25A068ED1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927">
                <a:extLst>
                  <a:ext uri="{FF2B5EF4-FFF2-40B4-BE49-F238E27FC236}">
                    <a16:creationId xmlns:a16="http://schemas.microsoft.com/office/drawing/2014/main" id="{7909AB04-CC3B-2B9E-729C-B156BABE97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3" name="Oval 143">
              <a:extLst>
                <a:ext uri="{FF2B5EF4-FFF2-40B4-BE49-F238E27FC236}">
                  <a16:creationId xmlns:a16="http://schemas.microsoft.com/office/drawing/2014/main" id="{DE94224E-4490-15F4-15EF-98946BC4841A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" name="Freeform 872">
            <a:extLst>
              <a:ext uri="{FF2B5EF4-FFF2-40B4-BE49-F238E27FC236}">
                <a16:creationId xmlns:a16="http://schemas.microsoft.com/office/drawing/2014/main" id="{46A1B3F3-2368-394B-1E44-31C9A5F67C95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8" name="two dogs">
            <a:hlinkClick r:id="" action="ppaction://media"/>
            <a:extLst>
              <a:ext uri="{FF2B5EF4-FFF2-40B4-BE49-F238E27FC236}">
                <a16:creationId xmlns:a16="http://schemas.microsoft.com/office/drawing/2014/main" id="{BF85C672-10F9-01EF-59D3-9007DA558174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838200"/>
            <a:ext cx="11277600" cy="5638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143230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534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Video: </a:t>
            </a:r>
            <a:r>
              <a:rPr lang="de-DE" dirty="0" err="1"/>
              <a:t>Three</a:t>
            </a:r>
            <a:r>
              <a:rPr lang="de-DE" dirty="0"/>
              <a:t> Shepherds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F90E714-4E76-642B-E1C6-1220157283D2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oup 139">
            <a:extLst>
              <a:ext uri="{FF2B5EF4-FFF2-40B4-BE49-F238E27FC236}">
                <a16:creationId xmlns:a16="http://schemas.microsoft.com/office/drawing/2014/main" id="{950F4A08-663E-0A87-E8AC-E2F6DFA4E07D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0" name="Teardrop 140">
              <a:extLst>
                <a:ext uri="{FF2B5EF4-FFF2-40B4-BE49-F238E27FC236}">
                  <a16:creationId xmlns:a16="http://schemas.microsoft.com/office/drawing/2014/main" id="{FDD57E79-ED58-19D8-5A77-2E7E232D0B54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39">
              <a:extLst>
                <a:ext uri="{FF2B5EF4-FFF2-40B4-BE49-F238E27FC236}">
                  <a16:creationId xmlns:a16="http://schemas.microsoft.com/office/drawing/2014/main" id="{A33BFC2A-73CB-1394-0184-097929942B71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2" name="Group 925">
              <a:extLst>
                <a:ext uri="{FF2B5EF4-FFF2-40B4-BE49-F238E27FC236}">
                  <a16:creationId xmlns:a16="http://schemas.microsoft.com/office/drawing/2014/main" id="{2D0F594B-12F7-33FD-1794-B14696632A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" name="Freeform 926">
                <a:extLst>
                  <a:ext uri="{FF2B5EF4-FFF2-40B4-BE49-F238E27FC236}">
                    <a16:creationId xmlns:a16="http://schemas.microsoft.com/office/drawing/2014/main" id="{32C125A4-199E-B125-ECFF-25A068ED1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927">
                <a:extLst>
                  <a:ext uri="{FF2B5EF4-FFF2-40B4-BE49-F238E27FC236}">
                    <a16:creationId xmlns:a16="http://schemas.microsoft.com/office/drawing/2014/main" id="{7909AB04-CC3B-2B9E-729C-B156BABE97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3" name="Oval 143">
              <a:extLst>
                <a:ext uri="{FF2B5EF4-FFF2-40B4-BE49-F238E27FC236}">
                  <a16:creationId xmlns:a16="http://schemas.microsoft.com/office/drawing/2014/main" id="{DE94224E-4490-15F4-15EF-98946BC4841A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" name="Freeform 872">
            <a:extLst>
              <a:ext uri="{FF2B5EF4-FFF2-40B4-BE49-F238E27FC236}">
                <a16:creationId xmlns:a16="http://schemas.microsoft.com/office/drawing/2014/main" id="{46A1B3F3-2368-394B-1E44-31C9A5F67C95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2" name="three dogs">
            <a:hlinkClick r:id="" action="ppaction://media"/>
            <a:extLst>
              <a:ext uri="{FF2B5EF4-FFF2-40B4-BE49-F238E27FC236}">
                <a16:creationId xmlns:a16="http://schemas.microsoft.com/office/drawing/2014/main" id="{9DB2602E-49F6-C73B-B31D-A2A48CF14593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873760"/>
            <a:ext cx="11206480" cy="56032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561367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4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hteck 39">
            <a:extLst>
              <a:ext uri="{FF2B5EF4-FFF2-40B4-BE49-F238E27FC236}">
                <a16:creationId xmlns:a16="http://schemas.microsoft.com/office/drawing/2014/main" id="{BC1F170A-C1EA-FFF8-BB02-715F56F7AF57}"/>
              </a:ext>
            </a:extLst>
          </p:cNvPr>
          <p:cNvSpPr/>
          <p:nvPr/>
        </p:nvSpPr>
        <p:spPr bwMode="gray">
          <a:xfrm>
            <a:off x="5120640" y="3028864"/>
            <a:ext cx="4685587" cy="1012088"/>
          </a:xfrm>
          <a:prstGeom prst="rect">
            <a:avLst/>
          </a:prstGeom>
          <a:gradFill flip="none" rotWithShape="1">
            <a:gsLst>
              <a:gs pos="24000">
                <a:srgbClr val="A2CA10"/>
              </a:gs>
              <a:gs pos="97000">
                <a:srgbClr val="2AFC4D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DDAD8076-D9EE-8B8D-C8EA-9F35F7757DED}"/>
              </a:ext>
            </a:extLst>
          </p:cNvPr>
          <p:cNvSpPr/>
          <p:nvPr/>
        </p:nvSpPr>
        <p:spPr bwMode="gray">
          <a:xfrm>
            <a:off x="5120640" y="4035466"/>
            <a:ext cx="4685587" cy="1012088"/>
          </a:xfrm>
          <a:prstGeom prst="rect">
            <a:avLst/>
          </a:prstGeom>
          <a:gradFill flip="none" rotWithShape="1">
            <a:gsLst>
              <a:gs pos="24000">
                <a:srgbClr val="E3E48D"/>
              </a:gs>
              <a:gs pos="66000">
                <a:schemeClr val="accent1">
                  <a:lumMod val="60000"/>
                  <a:lumOff val="40000"/>
                </a:schemeClr>
              </a:gs>
              <a:gs pos="68000">
                <a:srgbClr val="F82705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0D4B750F-C264-E66F-63B5-6D6003313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4636" y="2841326"/>
            <a:ext cx="941082" cy="320664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1 </a:t>
            </a:r>
            <a:r>
              <a:rPr lang="de-DE" dirty="0" err="1"/>
              <a:t>vs</a:t>
            </a:r>
            <a:r>
              <a:rPr lang="de-DE" dirty="0"/>
              <a:t> 2 </a:t>
            </a:r>
            <a:r>
              <a:rPr lang="de-DE" dirty="0" err="1"/>
              <a:t>vs</a:t>
            </a:r>
            <a:r>
              <a:rPr lang="de-DE" dirty="0"/>
              <a:t> 3 </a:t>
            </a:r>
            <a:r>
              <a:rPr lang="de-DE" dirty="0" err="1"/>
              <a:t>shepherds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Results</a:t>
            </a:r>
            <a:r>
              <a:rPr lang="de-DE" dirty="0"/>
              <a:t>: </a:t>
            </a:r>
            <a:r>
              <a:rPr lang="de-DE" dirty="0" err="1"/>
              <a:t>Comparis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imesteps</a:t>
            </a:r>
            <a:r>
              <a:rPr lang="de-DE" dirty="0"/>
              <a:t> </a:t>
            </a:r>
            <a:r>
              <a:rPr lang="de-DE" dirty="0" err="1"/>
              <a:t>needed</a:t>
            </a:r>
            <a:endParaRPr lang="de-DE" dirty="0"/>
          </a:p>
        </p:txBody>
      </p: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3275730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o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4317542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Muster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27220" y="5359353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i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8FE64ED-0107-7E22-4BCA-1AF189D406E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9" name="Group 139">
            <a:extLst>
              <a:ext uri="{FF2B5EF4-FFF2-40B4-BE49-F238E27FC236}">
                <a16:creationId xmlns:a16="http://schemas.microsoft.com/office/drawing/2014/main" id="{5A6CB482-743F-EAD7-41B8-EE152532F94C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20" name="Teardrop 140">
              <a:extLst>
                <a:ext uri="{FF2B5EF4-FFF2-40B4-BE49-F238E27FC236}">
                  <a16:creationId xmlns:a16="http://schemas.microsoft.com/office/drawing/2014/main" id="{0F1F44A4-20BE-83DB-A3C1-0F221790207B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39">
              <a:extLst>
                <a:ext uri="{FF2B5EF4-FFF2-40B4-BE49-F238E27FC236}">
                  <a16:creationId xmlns:a16="http://schemas.microsoft.com/office/drawing/2014/main" id="{693866EE-964D-8EB5-14FE-2CDCCB57311B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2" name="Group 925">
              <a:extLst>
                <a:ext uri="{FF2B5EF4-FFF2-40B4-BE49-F238E27FC236}">
                  <a16:creationId xmlns:a16="http://schemas.microsoft.com/office/drawing/2014/main" id="{1CB637EA-EF7A-373D-C981-C951A6AFC75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30" name="Freeform 926">
                <a:extLst>
                  <a:ext uri="{FF2B5EF4-FFF2-40B4-BE49-F238E27FC236}">
                    <a16:creationId xmlns:a16="http://schemas.microsoft.com/office/drawing/2014/main" id="{A4BE77FB-28F4-ADD6-440A-65A0DB6F8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" name="Freeform 927">
                <a:extLst>
                  <a:ext uri="{FF2B5EF4-FFF2-40B4-BE49-F238E27FC236}">
                    <a16:creationId xmlns:a16="http://schemas.microsoft.com/office/drawing/2014/main" id="{009D7C5C-DFFA-74BC-03FD-03052B0EE4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9BBCF865-AD7C-0794-A1A1-B40C6D9E4567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2" name="Freeform 872">
            <a:extLst>
              <a:ext uri="{FF2B5EF4-FFF2-40B4-BE49-F238E27FC236}">
                <a16:creationId xmlns:a16="http://schemas.microsoft.com/office/drawing/2014/main" id="{970A4700-F107-A541-3352-5B3A16A6EB8B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79E4657-C6FA-2985-8B14-14A361086668}"/>
              </a:ext>
            </a:extLst>
          </p:cNvPr>
          <p:cNvSpPr/>
          <p:nvPr/>
        </p:nvSpPr>
        <p:spPr bwMode="gray">
          <a:xfrm>
            <a:off x="5120640" y="5035886"/>
            <a:ext cx="4685587" cy="1012088"/>
          </a:xfrm>
          <a:prstGeom prst="rect">
            <a:avLst/>
          </a:prstGeom>
          <a:gradFill flip="none" rotWithShape="1">
            <a:gsLst>
              <a:gs pos="33000">
                <a:srgbClr val="E58912"/>
              </a:gs>
              <a:gs pos="66000">
                <a:srgbClr val="E94605"/>
              </a:gs>
              <a:gs pos="34000">
                <a:srgbClr val="F04D0A"/>
              </a:gs>
              <a:gs pos="67000">
                <a:srgbClr val="E1CA1F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33" name="Tabelle 32">
            <a:extLst>
              <a:ext uri="{FF2B5EF4-FFF2-40B4-BE49-F238E27FC236}">
                <a16:creationId xmlns:a16="http://schemas.microsoft.com/office/drawing/2014/main" id="{F0960C92-D203-623C-433A-A44A11A35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0710242"/>
              </p:ext>
            </p:extLst>
          </p:nvPr>
        </p:nvGraphicFramePr>
        <p:xfrm>
          <a:off x="3555067" y="2022958"/>
          <a:ext cx="6251160" cy="40250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2790">
                  <a:extLst>
                    <a:ext uri="{9D8B030D-6E8A-4147-A177-3AD203B41FA5}">
                      <a16:colId xmlns:a16="http://schemas.microsoft.com/office/drawing/2014/main" val="1574198244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404193782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84734309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3619854304"/>
                    </a:ext>
                  </a:extLst>
                </a:gridCol>
              </a:tblGrid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45188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5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5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91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76286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0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17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1962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291851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52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81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726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0481071"/>
                  </a:ext>
                </a:extLst>
              </a:tr>
            </a:tbl>
          </a:graphicData>
        </a:graphic>
      </p:graphicFrame>
      <p:pic>
        <p:nvPicPr>
          <p:cNvPr id="41" name="Grafik 40" descr="Hund mit einfarbiger Füllung">
            <a:extLst>
              <a:ext uri="{FF2B5EF4-FFF2-40B4-BE49-F238E27FC236}">
                <a16:creationId xmlns:a16="http://schemas.microsoft.com/office/drawing/2014/main" id="{4D30C6DD-ACFB-4149-2127-2E516D9ABF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74446" y="2208327"/>
            <a:ext cx="541266" cy="541266"/>
          </a:xfrm>
          <a:prstGeom prst="rect">
            <a:avLst/>
          </a:prstGeom>
        </p:spPr>
      </p:pic>
      <p:pic>
        <p:nvPicPr>
          <p:cNvPr id="42" name="Grafik 41" descr="Hund mit einfarbiger Füllung">
            <a:extLst>
              <a:ext uri="{FF2B5EF4-FFF2-40B4-BE49-F238E27FC236}">
                <a16:creationId xmlns:a16="http://schemas.microsoft.com/office/drawing/2014/main" id="{523CB1A2-EA05-60BA-B311-F81E012DA0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0046" y="2423230"/>
            <a:ext cx="541266" cy="541266"/>
          </a:xfrm>
          <a:prstGeom prst="rect">
            <a:avLst/>
          </a:prstGeom>
        </p:spPr>
      </p:pic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8C065F5E-6C79-E403-3572-866CCA128B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42487" y="2195766"/>
            <a:ext cx="541266" cy="541266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3361F99-43AA-90B8-B8AC-BD2AD3965E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13886" y="2398796"/>
            <a:ext cx="541266" cy="541266"/>
          </a:xfrm>
          <a:prstGeom prst="rect">
            <a:avLst/>
          </a:prstGeom>
        </p:spPr>
      </p:pic>
      <p:pic>
        <p:nvPicPr>
          <p:cNvPr id="45" name="Grafik 44" descr="Hund mit einfarbiger Füllung">
            <a:extLst>
              <a:ext uri="{FF2B5EF4-FFF2-40B4-BE49-F238E27FC236}">
                <a16:creationId xmlns:a16="http://schemas.microsoft.com/office/drawing/2014/main" id="{5EE5F210-47EE-E0D0-EE7C-D9BB555327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56327" y="2171332"/>
            <a:ext cx="541266" cy="541266"/>
          </a:xfrm>
          <a:prstGeom prst="rect">
            <a:avLst/>
          </a:prstGeom>
        </p:spPr>
      </p:pic>
      <p:pic>
        <p:nvPicPr>
          <p:cNvPr id="46" name="Grafik 45" descr="Hund mit einfarbiger Füllung">
            <a:extLst>
              <a:ext uri="{FF2B5EF4-FFF2-40B4-BE49-F238E27FC236}">
                <a16:creationId xmlns:a16="http://schemas.microsoft.com/office/drawing/2014/main" id="{662ABEA6-B4EF-E359-3A5B-4A59F367C1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44027" y="2059740"/>
            <a:ext cx="541266" cy="541266"/>
          </a:xfrm>
          <a:prstGeom prst="rect">
            <a:avLst/>
          </a:prstGeom>
        </p:spPr>
      </p:pic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B7B1C97C-7F41-F325-6921-3BF648F30A26}"/>
              </a:ext>
            </a:extLst>
          </p:cNvPr>
          <p:cNvCxnSpPr/>
          <p:nvPr/>
        </p:nvCxnSpPr>
        <p:spPr>
          <a:xfrm flipH="1" flipV="1">
            <a:off x="3556000" y="2059740"/>
            <a:ext cx="1564640" cy="9691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CD9AECF1-CCEC-828F-C56A-6F2C33C82C55}"/>
              </a:ext>
            </a:extLst>
          </p:cNvPr>
          <p:cNvSpPr txBox="1"/>
          <p:nvPr/>
        </p:nvSpPr>
        <p:spPr>
          <a:xfrm>
            <a:off x="3709531" y="2617244"/>
            <a:ext cx="8735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Strategy</a:t>
            </a:r>
            <a:endParaRPr lang="de-DE" sz="1400" dirty="0">
              <a:solidFill>
                <a:srgbClr val="31313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35820D26-7DB9-6D10-0E15-E1E1BEBC52B3}"/>
              </a:ext>
            </a:extLst>
          </p:cNvPr>
          <p:cNvSpPr txBox="1"/>
          <p:nvPr/>
        </p:nvSpPr>
        <p:spPr>
          <a:xfrm>
            <a:off x="4293517" y="2086385"/>
            <a:ext cx="8735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Number</a:t>
            </a:r>
            <a:r>
              <a:rPr lang="de-DE" sz="1400" dirty="0">
                <a:solidFill>
                  <a:srgbClr val="313131"/>
                </a:solidFill>
              </a:rPr>
              <a:t> Shepherds</a:t>
            </a:r>
          </a:p>
        </p:txBody>
      </p:sp>
      <p:sp>
        <p:nvSpPr>
          <p:cNvPr id="60" name="Flussdiagramm: Verbinder 59">
            <a:extLst>
              <a:ext uri="{FF2B5EF4-FFF2-40B4-BE49-F238E27FC236}">
                <a16:creationId xmlns:a16="http://schemas.microsoft.com/office/drawing/2014/main" id="{5BF6908B-AE1C-2A03-E669-E4430981B393}"/>
              </a:ext>
            </a:extLst>
          </p:cNvPr>
          <p:cNvSpPr/>
          <p:nvPr/>
        </p:nvSpPr>
        <p:spPr bwMode="gray">
          <a:xfrm>
            <a:off x="10698827" y="4268918"/>
            <a:ext cx="822613" cy="822613"/>
          </a:xfrm>
          <a:prstGeom prst="flowChartConnector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6267BD4E-72A2-3ADE-2A89-BD42D600301C}"/>
              </a:ext>
            </a:extLst>
          </p:cNvPr>
          <p:cNvSpPr/>
          <p:nvPr/>
        </p:nvSpPr>
        <p:spPr bwMode="gray">
          <a:xfrm>
            <a:off x="8456327" y="1664038"/>
            <a:ext cx="2488971" cy="119911"/>
          </a:xfrm>
          <a:prstGeom prst="rect">
            <a:avLst/>
          </a:prstGeom>
          <a:gradFill>
            <a:gsLst>
              <a:gs pos="0">
                <a:srgbClr val="FF0000"/>
              </a:gs>
              <a:gs pos="79000">
                <a:srgbClr val="A2CA10"/>
              </a:gs>
              <a:gs pos="100000">
                <a:srgbClr val="2EFB4B"/>
              </a:gs>
              <a:gs pos="21000">
                <a:srgbClr val="E58812"/>
              </a:gs>
              <a:gs pos="40000">
                <a:srgbClr val="E1CA1F"/>
              </a:gs>
              <a:gs pos="58000">
                <a:srgbClr val="E3E48D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CFA98E93-7277-B4AD-22DB-6F9A6B47A870}"/>
              </a:ext>
            </a:extLst>
          </p:cNvPr>
          <p:cNvSpPr txBox="1"/>
          <p:nvPr/>
        </p:nvSpPr>
        <p:spPr>
          <a:xfrm>
            <a:off x="8456327" y="1416410"/>
            <a:ext cx="260096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>
                <a:solidFill>
                  <a:srgbClr val="313131"/>
                </a:solidFill>
              </a:rPr>
              <a:t>Color </a:t>
            </a:r>
            <a:r>
              <a:rPr lang="de-DE" sz="1400" dirty="0" err="1">
                <a:solidFill>
                  <a:srgbClr val="313131"/>
                </a:solidFill>
              </a:rPr>
              <a:t>coding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of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Timesteps</a:t>
            </a:r>
            <a:endParaRPr lang="de-DE" sz="1400" dirty="0">
              <a:solidFill>
                <a:srgbClr val="31313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05141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>
            <a:extLst>
              <a:ext uri="{FF2B5EF4-FFF2-40B4-BE49-F238E27FC236}">
                <a16:creationId xmlns:a16="http://schemas.microsoft.com/office/drawing/2014/main" id="{0D4B750F-C264-E66F-63B5-6D6003313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4636" y="2841326"/>
            <a:ext cx="941082" cy="320664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worse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?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Results</a:t>
            </a:r>
            <a:r>
              <a:rPr lang="de-DE" dirty="0"/>
              <a:t>: Benchmark </a:t>
            </a:r>
            <a:r>
              <a:rPr lang="de-DE" dirty="0" err="1"/>
              <a:t>model</a:t>
            </a:r>
            <a:endParaRPr lang="de-DE" dirty="0"/>
          </a:p>
        </p:txBody>
      </p: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3275730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o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4317542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Muster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27220" y="5359353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i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8FE64ED-0107-7E22-4BCA-1AF189D406E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9" name="Group 139">
            <a:extLst>
              <a:ext uri="{FF2B5EF4-FFF2-40B4-BE49-F238E27FC236}">
                <a16:creationId xmlns:a16="http://schemas.microsoft.com/office/drawing/2014/main" id="{5A6CB482-743F-EAD7-41B8-EE152532F94C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20" name="Teardrop 140">
              <a:extLst>
                <a:ext uri="{FF2B5EF4-FFF2-40B4-BE49-F238E27FC236}">
                  <a16:creationId xmlns:a16="http://schemas.microsoft.com/office/drawing/2014/main" id="{0F1F44A4-20BE-83DB-A3C1-0F221790207B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39">
              <a:extLst>
                <a:ext uri="{FF2B5EF4-FFF2-40B4-BE49-F238E27FC236}">
                  <a16:creationId xmlns:a16="http://schemas.microsoft.com/office/drawing/2014/main" id="{693866EE-964D-8EB5-14FE-2CDCCB57311B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2" name="Group 925">
              <a:extLst>
                <a:ext uri="{FF2B5EF4-FFF2-40B4-BE49-F238E27FC236}">
                  <a16:creationId xmlns:a16="http://schemas.microsoft.com/office/drawing/2014/main" id="{1CB637EA-EF7A-373D-C981-C951A6AFC75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30" name="Freeform 926">
                <a:extLst>
                  <a:ext uri="{FF2B5EF4-FFF2-40B4-BE49-F238E27FC236}">
                    <a16:creationId xmlns:a16="http://schemas.microsoft.com/office/drawing/2014/main" id="{A4BE77FB-28F4-ADD6-440A-65A0DB6F8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" name="Freeform 927">
                <a:extLst>
                  <a:ext uri="{FF2B5EF4-FFF2-40B4-BE49-F238E27FC236}">
                    <a16:creationId xmlns:a16="http://schemas.microsoft.com/office/drawing/2014/main" id="{009D7C5C-DFFA-74BC-03FD-03052B0EE4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9BBCF865-AD7C-0794-A1A1-B40C6D9E4567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2" name="Freeform 872">
            <a:extLst>
              <a:ext uri="{FF2B5EF4-FFF2-40B4-BE49-F238E27FC236}">
                <a16:creationId xmlns:a16="http://schemas.microsoft.com/office/drawing/2014/main" id="{970A4700-F107-A541-3352-5B3A16A6EB8B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33" name="Tabelle 32">
            <a:extLst>
              <a:ext uri="{FF2B5EF4-FFF2-40B4-BE49-F238E27FC236}">
                <a16:creationId xmlns:a16="http://schemas.microsoft.com/office/drawing/2014/main" id="{F0960C92-D203-623C-433A-A44A11A35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188573"/>
              </p:ext>
            </p:extLst>
          </p:nvPr>
        </p:nvGraphicFramePr>
        <p:xfrm>
          <a:off x="3555067" y="2022958"/>
          <a:ext cx="6251160" cy="40250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2790">
                  <a:extLst>
                    <a:ext uri="{9D8B030D-6E8A-4147-A177-3AD203B41FA5}">
                      <a16:colId xmlns:a16="http://schemas.microsoft.com/office/drawing/2014/main" val="1574198244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404193782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84734309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3619854304"/>
                    </a:ext>
                  </a:extLst>
                </a:gridCol>
              </a:tblGrid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45188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123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322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186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6286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986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5929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861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2291851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123</a:t>
                      </a:r>
                    </a:p>
                  </a:txBody>
                  <a:tcPr anchor="ctr">
                    <a:solidFill>
                      <a:srgbClr val="93F3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322</a:t>
                      </a:r>
                    </a:p>
                  </a:txBody>
                  <a:tcPr anchor="ctr">
                    <a:solidFill>
                      <a:srgbClr val="93F3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186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81071"/>
                  </a:ext>
                </a:extLst>
              </a:tr>
            </a:tbl>
          </a:graphicData>
        </a:graphic>
      </p:graphicFrame>
      <p:pic>
        <p:nvPicPr>
          <p:cNvPr id="41" name="Grafik 40" descr="Hund mit einfarbiger Füllung">
            <a:extLst>
              <a:ext uri="{FF2B5EF4-FFF2-40B4-BE49-F238E27FC236}">
                <a16:creationId xmlns:a16="http://schemas.microsoft.com/office/drawing/2014/main" id="{4D30C6DD-ACFB-4149-2127-2E516D9ABF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74446" y="2208327"/>
            <a:ext cx="541266" cy="541266"/>
          </a:xfrm>
          <a:prstGeom prst="rect">
            <a:avLst/>
          </a:prstGeom>
        </p:spPr>
      </p:pic>
      <p:pic>
        <p:nvPicPr>
          <p:cNvPr id="42" name="Grafik 41" descr="Hund mit einfarbiger Füllung">
            <a:extLst>
              <a:ext uri="{FF2B5EF4-FFF2-40B4-BE49-F238E27FC236}">
                <a16:creationId xmlns:a16="http://schemas.microsoft.com/office/drawing/2014/main" id="{523CB1A2-EA05-60BA-B311-F81E012DA0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0046" y="2423230"/>
            <a:ext cx="541266" cy="541266"/>
          </a:xfrm>
          <a:prstGeom prst="rect">
            <a:avLst/>
          </a:prstGeom>
        </p:spPr>
      </p:pic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8C065F5E-6C79-E403-3572-866CCA128B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42487" y="2195766"/>
            <a:ext cx="541266" cy="541266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3361F99-43AA-90B8-B8AC-BD2AD3965E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13886" y="2398796"/>
            <a:ext cx="541266" cy="541266"/>
          </a:xfrm>
          <a:prstGeom prst="rect">
            <a:avLst/>
          </a:prstGeom>
        </p:spPr>
      </p:pic>
      <p:pic>
        <p:nvPicPr>
          <p:cNvPr id="45" name="Grafik 44" descr="Hund mit einfarbiger Füllung">
            <a:extLst>
              <a:ext uri="{FF2B5EF4-FFF2-40B4-BE49-F238E27FC236}">
                <a16:creationId xmlns:a16="http://schemas.microsoft.com/office/drawing/2014/main" id="{5EE5F210-47EE-E0D0-EE7C-D9BB555327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56327" y="2171332"/>
            <a:ext cx="541266" cy="541266"/>
          </a:xfrm>
          <a:prstGeom prst="rect">
            <a:avLst/>
          </a:prstGeom>
        </p:spPr>
      </p:pic>
      <p:pic>
        <p:nvPicPr>
          <p:cNvPr id="46" name="Grafik 45" descr="Hund mit einfarbiger Füllung">
            <a:extLst>
              <a:ext uri="{FF2B5EF4-FFF2-40B4-BE49-F238E27FC236}">
                <a16:creationId xmlns:a16="http://schemas.microsoft.com/office/drawing/2014/main" id="{662ABEA6-B4EF-E359-3A5B-4A59F367C1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44027" y="2059740"/>
            <a:ext cx="541266" cy="541266"/>
          </a:xfrm>
          <a:prstGeom prst="rect">
            <a:avLst/>
          </a:prstGeom>
        </p:spPr>
      </p:pic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B7B1C97C-7F41-F325-6921-3BF648F30A26}"/>
              </a:ext>
            </a:extLst>
          </p:cNvPr>
          <p:cNvCxnSpPr/>
          <p:nvPr/>
        </p:nvCxnSpPr>
        <p:spPr>
          <a:xfrm flipH="1" flipV="1">
            <a:off x="3556000" y="2059740"/>
            <a:ext cx="1564640" cy="9691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CD9AECF1-CCEC-828F-C56A-6F2C33C82C55}"/>
              </a:ext>
            </a:extLst>
          </p:cNvPr>
          <p:cNvSpPr txBox="1"/>
          <p:nvPr/>
        </p:nvSpPr>
        <p:spPr>
          <a:xfrm>
            <a:off x="3709531" y="2617244"/>
            <a:ext cx="8735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Strategy</a:t>
            </a:r>
            <a:endParaRPr lang="de-DE" sz="1400" dirty="0">
              <a:solidFill>
                <a:srgbClr val="31313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35820D26-7DB9-6D10-0E15-E1E1BEBC52B3}"/>
              </a:ext>
            </a:extLst>
          </p:cNvPr>
          <p:cNvSpPr txBox="1"/>
          <p:nvPr/>
        </p:nvSpPr>
        <p:spPr>
          <a:xfrm>
            <a:off x="4293517" y="2086385"/>
            <a:ext cx="8735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Number</a:t>
            </a:r>
            <a:r>
              <a:rPr lang="de-DE" sz="1400" dirty="0">
                <a:solidFill>
                  <a:srgbClr val="313131"/>
                </a:solidFill>
              </a:rPr>
              <a:t> Shepherds</a:t>
            </a:r>
          </a:p>
        </p:txBody>
      </p:sp>
      <p:sp>
        <p:nvSpPr>
          <p:cNvPr id="60" name="Flussdiagramm: Verbinder 59">
            <a:extLst>
              <a:ext uri="{FF2B5EF4-FFF2-40B4-BE49-F238E27FC236}">
                <a16:creationId xmlns:a16="http://schemas.microsoft.com/office/drawing/2014/main" id="{5BF6908B-AE1C-2A03-E669-E4430981B393}"/>
              </a:ext>
            </a:extLst>
          </p:cNvPr>
          <p:cNvSpPr/>
          <p:nvPr/>
        </p:nvSpPr>
        <p:spPr bwMode="gray">
          <a:xfrm>
            <a:off x="10698827" y="4268918"/>
            <a:ext cx="822613" cy="822613"/>
          </a:xfrm>
          <a:prstGeom prst="flowChartConnector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215635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rap </a:t>
            </a:r>
            <a:r>
              <a:rPr lang="de-DE" dirty="0" err="1"/>
              <a:t>up</a:t>
            </a:r>
            <a:r>
              <a:rPr lang="de-DE" dirty="0"/>
              <a:t>!</a:t>
            </a:r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831B5BC1-6DBF-5E61-D323-7FCBB80D95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3394496"/>
              </p:ext>
            </p:extLst>
          </p:nvPr>
        </p:nvGraphicFramePr>
        <p:xfrm>
          <a:off x="1665635" y="1045974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happe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goals</a:t>
            </a:r>
            <a:r>
              <a:rPr lang="de-DE" dirty="0"/>
              <a:t>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F6C19517-E12D-4B2E-EA34-31DD377897DF}"/>
              </a:ext>
            </a:extLst>
          </p:cNvPr>
          <p:cNvSpPr/>
          <p:nvPr/>
        </p:nvSpPr>
        <p:spPr>
          <a:xfrm>
            <a:off x="5235661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gradFill>
            <a:gsLst>
              <a:gs pos="27000">
                <a:schemeClr val="bg2"/>
              </a:gs>
              <a:gs pos="90000">
                <a:srgbClr val="43B02A"/>
              </a:gs>
            </a:gsLst>
            <a:lin ang="16200000" scaled="1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74678" tIns="420418" rIns="374679" bIns="42041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Recreate</a:t>
            </a:r>
            <a:r>
              <a:rPr lang="de-DE" sz="1800" kern="1200" dirty="0"/>
              <a:t> Code in C++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AA00532D-5D4E-4514-4537-AAF5A584F476}"/>
              </a:ext>
            </a:extLst>
          </p:cNvPr>
          <p:cNvSpPr/>
          <p:nvPr/>
        </p:nvSpPr>
        <p:spPr>
          <a:xfrm>
            <a:off x="3109140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Understand</a:t>
            </a:r>
            <a:r>
              <a:rPr lang="de-DE" sz="1800" kern="1200" dirty="0"/>
              <a:t> </a:t>
            </a:r>
            <a:r>
              <a:rPr lang="de-DE" sz="1800" kern="1200" dirty="0" err="1"/>
              <a:t>Codebase</a:t>
            </a:r>
            <a:endParaRPr lang="de-DE" sz="1800" kern="1200" dirty="0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665AA628-5FFC-E784-F24E-FE598F2F3E8B}"/>
              </a:ext>
            </a:extLst>
          </p:cNvPr>
          <p:cNvSpPr/>
          <p:nvPr/>
        </p:nvSpPr>
        <p:spPr>
          <a:xfrm>
            <a:off x="4174089" y="3554248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74678" tIns="420418" rIns="374679" bIns="42041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/>
              <a:t>Add multiple </a:t>
            </a:r>
            <a:r>
              <a:rPr lang="de-DE" dirty="0"/>
              <a:t>S</a:t>
            </a:r>
            <a:r>
              <a:rPr lang="de-DE" sz="1800" kern="1200" dirty="0"/>
              <a:t>hepherds and </a:t>
            </a:r>
            <a:r>
              <a:rPr lang="de-DE" dirty="0"/>
              <a:t>F</a:t>
            </a:r>
            <a:r>
              <a:rPr lang="de-DE" sz="1800" kern="1200" dirty="0"/>
              <a:t>enc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63DDD65-06EF-24AA-B8A7-F1B27D30BCE7}"/>
              </a:ext>
            </a:extLst>
          </p:cNvPr>
          <p:cNvSpPr/>
          <p:nvPr/>
        </p:nvSpPr>
        <p:spPr>
          <a:xfrm>
            <a:off x="6813524" y="3762320"/>
            <a:ext cx="243840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9DAE163D-89CF-8515-9591-E8C0A07B01F2}"/>
              </a:ext>
            </a:extLst>
          </p:cNvPr>
          <p:cNvSpPr/>
          <p:nvPr/>
        </p:nvSpPr>
        <p:spPr>
          <a:xfrm>
            <a:off x="6311006" y="3601964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gradFill flip="none" rotWithShape="1">
            <a:gsLst>
              <a:gs pos="23000">
                <a:schemeClr val="bg2"/>
              </a:gs>
              <a:gs pos="57000">
                <a:srgbClr val="43B02A"/>
              </a:gs>
            </a:gsLst>
            <a:lin ang="16200000" scaled="1"/>
            <a:tileRect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/>
              <a:t>Find </a:t>
            </a:r>
            <a:r>
              <a:rPr lang="de-DE" sz="1800" kern="1200" dirty="0" err="1"/>
              <a:t>best</a:t>
            </a:r>
            <a:r>
              <a:rPr lang="de-DE" sz="1800" kern="1200" dirty="0"/>
              <a:t> </a:t>
            </a:r>
            <a:r>
              <a:rPr lang="de-DE" dirty="0"/>
              <a:t>P</a:t>
            </a:r>
            <a:r>
              <a:rPr lang="de-DE" sz="1800" kern="1200" dirty="0"/>
              <a:t>arameters</a:t>
            </a:r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9563B150-C396-D374-0A19-08880394CB83}"/>
              </a:ext>
            </a:extLst>
          </p:cNvPr>
          <p:cNvSpPr/>
          <p:nvPr/>
        </p:nvSpPr>
        <p:spPr>
          <a:xfrm>
            <a:off x="7368934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Compare</a:t>
            </a:r>
            <a:r>
              <a:rPr lang="de-DE" sz="1800" kern="1200" dirty="0"/>
              <a:t> </a:t>
            </a:r>
            <a:r>
              <a:rPr lang="de-DE" sz="1800" kern="1200" dirty="0" err="1"/>
              <a:t>to</a:t>
            </a:r>
            <a:r>
              <a:rPr lang="de-DE" sz="1800" kern="1200" dirty="0"/>
              <a:t> Benchmark- </a:t>
            </a:r>
            <a:r>
              <a:rPr lang="de-DE" sz="1800" kern="1200" dirty="0" err="1"/>
              <a:t>model</a:t>
            </a:r>
            <a:endParaRPr lang="de-DE" sz="1800" kern="1200" dirty="0"/>
          </a:p>
        </p:txBody>
      </p:sp>
    </p:spTree>
    <p:extLst>
      <p:ext uri="{BB962C8B-B14F-4D97-AF65-F5344CB8AC3E}">
        <p14:creationId xmlns:p14="http://schemas.microsoft.com/office/powerpoint/2010/main" val="11509656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5" grpId="0" animBg="1"/>
      <p:bldP spid="26" grpId="0" animBg="1"/>
      <p:bldP spid="28" grpId="0" animBg="1"/>
      <p:bldP spid="29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rap </a:t>
            </a:r>
            <a:r>
              <a:rPr lang="de-DE" dirty="0" err="1"/>
              <a:t>up</a:t>
            </a:r>
            <a:r>
              <a:rPr lang="de-DE" dirty="0"/>
              <a:t>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Biggest</a:t>
            </a:r>
            <a:r>
              <a:rPr lang="de-DE" dirty="0"/>
              <a:t> Challenges 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31" name="Rectangle 78">
            <a:extLst>
              <a:ext uri="{FF2B5EF4-FFF2-40B4-BE49-F238E27FC236}">
                <a16:creationId xmlns:a16="http://schemas.microsoft.com/office/drawing/2014/main" id="{32CEC5B8-DDC6-BAA1-245F-8A8926BBF8F2}"/>
              </a:ext>
            </a:extLst>
          </p:cNvPr>
          <p:cNvSpPr/>
          <p:nvPr/>
        </p:nvSpPr>
        <p:spPr>
          <a:xfrm>
            <a:off x="632586" y="1775662"/>
            <a:ext cx="24051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orking </a:t>
            </a:r>
            <a:r>
              <a:rPr kumimoji="0" lang="de-DE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ith</a:t>
            </a:r>
            <a:r>
              <a:rPr kumimoji="0" lang="de-DE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he</a:t>
            </a:r>
            <a:r>
              <a:rPr kumimoji="0" lang="de-DE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Code</a:t>
            </a: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/>
          <p:nvPr/>
        </p:nvGrpSpPr>
        <p:grpSpPr>
          <a:xfrm>
            <a:off x="955536" y="2466879"/>
            <a:ext cx="1703073" cy="2786208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5" name="Freeform 542">
              <a:extLst>
                <a:ext uri="{FF2B5EF4-FFF2-40B4-BE49-F238E27FC236}">
                  <a16:creationId xmlns:a16="http://schemas.microsoft.com/office/drawing/2014/main" id="{579C312E-5A98-9292-4E94-C37BDD9FE8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153" y="2459432"/>
              <a:ext cx="482072" cy="772637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2397A5F0-0AC7-7E1D-CBB0-BCEDE755AFFF}"/>
              </a:ext>
            </a:extLst>
          </p:cNvPr>
          <p:cNvGrpSpPr/>
          <p:nvPr/>
        </p:nvGrpSpPr>
        <p:grpSpPr>
          <a:xfrm>
            <a:off x="955536" y="4587978"/>
            <a:ext cx="1703073" cy="2786208"/>
            <a:chOff x="955536" y="4587978"/>
            <a:chExt cx="1703073" cy="2786208"/>
          </a:xfrm>
        </p:grpSpPr>
        <p:grpSp>
          <p:nvGrpSpPr>
            <p:cNvPr id="47" name="Group 52">
              <a:extLst>
                <a:ext uri="{FF2B5EF4-FFF2-40B4-BE49-F238E27FC236}">
                  <a16:creationId xmlns:a16="http://schemas.microsoft.com/office/drawing/2014/main" id="{FC143D0D-E694-49B5-B47F-9A5BBFA66612}"/>
                </a:ext>
              </a:extLst>
            </p:cNvPr>
            <p:cNvGrpSpPr/>
            <p:nvPr/>
          </p:nvGrpSpPr>
          <p:grpSpPr>
            <a:xfrm>
              <a:off x="955536" y="4587978"/>
              <a:ext cx="1703073" cy="2786208"/>
              <a:chOff x="1803653" y="1995975"/>
              <a:chExt cx="1703073" cy="2786208"/>
            </a:xfrm>
          </p:grpSpPr>
          <p:sp>
            <p:nvSpPr>
              <p:cNvPr id="48" name="Rectangle 53">
                <a:extLst>
                  <a:ext uri="{FF2B5EF4-FFF2-40B4-BE49-F238E27FC236}">
                    <a16:creationId xmlns:a16="http://schemas.microsoft.com/office/drawing/2014/main" id="{31985CC6-F3E9-2BA3-6719-EA64A2F89E3F}"/>
                  </a:ext>
                </a:extLst>
              </p:cNvPr>
              <p:cNvSpPr/>
              <p:nvPr/>
            </p:nvSpPr>
            <p:spPr>
              <a:xfrm>
                <a:off x="1909978" y="3844164"/>
                <a:ext cx="101412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</a:t>
                </a:r>
                <a:endPara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9" name="Oval 55">
                <a:extLst>
                  <a:ext uri="{FF2B5EF4-FFF2-40B4-BE49-F238E27FC236}">
                    <a16:creationId xmlns:a16="http://schemas.microsoft.com/office/drawing/2014/main" id="{729729EE-E3EB-D38F-5E85-ED0B7B16C4E3}"/>
                  </a:ext>
                </a:extLst>
              </p:cNvPr>
              <p:cNvSpPr/>
              <p:nvPr/>
            </p:nvSpPr>
            <p:spPr bwMode="gray">
              <a:xfrm>
                <a:off x="1803653" y="1995975"/>
                <a:ext cx="1703073" cy="1699552"/>
              </a:xfrm>
              <a:prstGeom prst="ellipse">
                <a:avLst/>
              </a:prstGeom>
              <a:solidFill>
                <a:srgbClr val="00ABAB"/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0" name="Oval 60">
                <a:extLst>
                  <a:ext uri="{FF2B5EF4-FFF2-40B4-BE49-F238E27FC236}">
                    <a16:creationId xmlns:a16="http://schemas.microsoft.com/office/drawing/2014/main" id="{DB307EA9-317E-2F43-9C94-66EDF499BBD6}"/>
                  </a:ext>
                </a:extLst>
              </p:cNvPr>
              <p:cNvSpPr/>
              <p:nvPr/>
            </p:nvSpPr>
            <p:spPr bwMode="gray">
              <a:xfrm>
                <a:off x="1997259" y="2189181"/>
                <a:ext cx="1315860" cy="131313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de-D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G</a:t>
                </a:r>
              </a:p>
            </p:txBody>
          </p:sp>
          <p:sp>
            <p:nvSpPr>
              <p:cNvPr id="51" name="Rectangle 61">
                <a:extLst>
                  <a:ext uri="{FF2B5EF4-FFF2-40B4-BE49-F238E27FC236}">
                    <a16:creationId xmlns:a16="http://schemas.microsoft.com/office/drawing/2014/main" id="{77585DEE-E8AC-A124-C749-F999FE301092}"/>
                  </a:ext>
                </a:extLst>
              </p:cNvPr>
              <p:cNvSpPr/>
              <p:nvPr/>
            </p:nvSpPr>
            <p:spPr>
              <a:xfrm>
                <a:off x="1931198" y="4182019"/>
                <a:ext cx="1480757" cy="6001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 dolor sit amet, consectetur adipiscing elit</a:t>
                </a:r>
                <a:endPara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pic>
          <p:nvPicPr>
            <p:cNvPr id="60" name="Grafik 59" descr="Schraubenschlüssel mit einfarbiger Füllung">
              <a:extLst>
                <a:ext uri="{FF2B5EF4-FFF2-40B4-BE49-F238E27FC236}">
                  <a16:creationId xmlns:a16="http://schemas.microsoft.com/office/drawing/2014/main" id="{01ED36FC-7AF6-8FAA-23B9-699C0167B6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82170" y="4855891"/>
              <a:ext cx="914400" cy="914400"/>
            </a:xfrm>
            <a:prstGeom prst="rect">
              <a:avLst/>
            </a:prstGeom>
          </p:spPr>
        </p:pic>
        <p:pic>
          <p:nvPicPr>
            <p:cNvPr id="62" name="Grafik 61" descr="Zahnräder mit einfarbiger Füllung">
              <a:extLst>
                <a:ext uri="{FF2B5EF4-FFF2-40B4-BE49-F238E27FC236}">
                  <a16:creationId xmlns:a16="http://schemas.microsoft.com/office/drawing/2014/main" id="{445EC500-F8AF-E1D9-FFBF-8F16BFC538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36362" y="5005891"/>
              <a:ext cx="914400" cy="914400"/>
            </a:xfrm>
            <a:prstGeom prst="rect">
              <a:avLst/>
            </a:prstGeom>
          </p:spPr>
        </p:pic>
      </p:grpSp>
      <p:sp>
        <p:nvSpPr>
          <p:cNvPr id="70" name="Rectangle 78">
            <a:extLst>
              <a:ext uri="{FF2B5EF4-FFF2-40B4-BE49-F238E27FC236}">
                <a16:creationId xmlns:a16="http://schemas.microsoft.com/office/drawing/2014/main" id="{1E742322-064F-2CCC-0CC7-FC51DB767882}"/>
              </a:ext>
            </a:extLst>
          </p:cNvPr>
          <p:cNvSpPr/>
          <p:nvPr/>
        </p:nvSpPr>
        <p:spPr>
          <a:xfrm>
            <a:off x="3037769" y="3127899"/>
            <a:ext cx="5415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Understanding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ithout</a:t>
            </a: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proper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ocumentation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Rectangle 78">
            <a:extLst>
              <a:ext uri="{FF2B5EF4-FFF2-40B4-BE49-F238E27FC236}">
                <a16:creationId xmlns:a16="http://schemas.microsoft.com/office/drawing/2014/main" id="{4E5AF55B-DD59-AD42-9421-4909FE416E45}"/>
              </a:ext>
            </a:extLst>
          </p:cNvPr>
          <p:cNvSpPr/>
          <p:nvPr/>
        </p:nvSpPr>
        <p:spPr>
          <a:xfrm>
            <a:off x="3037769" y="5253087"/>
            <a:ext cx="5415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aking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he</a:t>
            </a: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Code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ork</a:t>
            </a:r>
            <a:r>
              <a:rPr lang="de-DE" dirty="0"/>
              <a:t>, </a:t>
            </a:r>
            <a:r>
              <a:rPr lang="de-DE" dirty="0" err="1"/>
              <a:t>cleaning</a:t>
            </a:r>
            <a:r>
              <a:rPr lang="de-DE" dirty="0"/>
              <a:t> and </a:t>
            </a:r>
            <a:r>
              <a:rPr lang="de-DE" dirty="0" err="1"/>
              <a:t>adjusting</a:t>
            </a:r>
            <a:r>
              <a:rPr lang="de-DE" dirty="0"/>
              <a:t> </a:t>
            </a:r>
            <a:r>
              <a:rPr lang="de-DE" dirty="0" err="1"/>
              <a:t>it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1000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rap </a:t>
            </a:r>
            <a:r>
              <a:rPr lang="de-DE" dirty="0" err="1"/>
              <a:t>up</a:t>
            </a:r>
            <a:r>
              <a:rPr lang="de-DE" dirty="0"/>
              <a:t>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Would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do </a:t>
            </a:r>
            <a:r>
              <a:rPr lang="de-DE" dirty="0" err="1"/>
              <a:t>something</a:t>
            </a:r>
            <a:r>
              <a:rPr lang="de-DE" dirty="0"/>
              <a:t> </a:t>
            </a:r>
            <a:r>
              <a:rPr lang="de-DE" dirty="0" err="1"/>
              <a:t>differently</a:t>
            </a:r>
            <a:r>
              <a:rPr lang="de-DE" dirty="0"/>
              <a:t>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>
            <a:grpSpLocks noChangeAspect="1"/>
          </p:cNvGrpSpPr>
          <p:nvPr/>
        </p:nvGrpSpPr>
        <p:grpSpPr>
          <a:xfrm>
            <a:off x="955538" y="2799498"/>
            <a:ext cx="883896" cy="1446044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5" name="Freeform 542">
              <a:extLst>
                <a:ext uri="{FF2B5EF4-FFF2-40B4-BE49-F238E27FC236}">
                  <a16:creationId xmlns:a16="http://schemas.microsoft.com/office/drawing/2014/main" id="{579C312E-5A98-9292-4E94-C37BDD9FE8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153" y="2459432"/>
              <a:ext cx="482072" cy="772637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dolor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sit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met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,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consectetur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dipiscing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E4587D49-D35A-D58A-ADB3-DDA171F4E6A7}"/>
              </a:ext>
            </a:extLst>
          </p:cNvPr>
          <p:cNvSpPr/>
          <p:nvPr/>
        </p:nvSpPr>
        <p:spPr bwMode="gray">
          <a:xfrm>
            <a:off x="2339163" y="3429000"/>
            <a:ext cx="1786270" cy="563968"/>
          </a:xfrm>
          <a:prstGeom prst="rightArrow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113A6B5-89EA-B557-0813-6D3CB31DF68C}"/>
              </a:ext>
            </a:extLst>
          </p:cNvPr>
          <p:cNvSpPr txBox="1"/>
          <p:nvPr/>
        </p:nvSpPr>
        <p:spPr>
          <a:xfrm>
            <a:off x="5937637" y="3375023"/>
            <a:ext cx="481475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Implement </a:t>
            </a:r>
            <a:r>
              <a:rPr lang="de-DE" dirty="0" err="1">
                <a:solidFill>
                  <a:srgbClr val="313131"/>
                </a:solidFill>
              </a:rPr>
              <a:t>the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repository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scratch</a:t>
            </a:r>
            <a:endParaRPr lang="de-DE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Original Repository </a:t>
            </a:r>
            <a:r>
              <a:rPr lang="de-DE" dirty="0" err="1">
                <a:solidFill>
                  <a:srgbClr val="313131"/>
                </a:solidFill>
              </a:rPr>
              <a:t>only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a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emplate</a:t>
            </a:r>
            <a:r>
              <a:rPr lang="de-DE" dirty="0">
                <a:solidFill>
                  <a:srgbClr val="313131"/>
                </a:solidFill>
              </a:rPr>
              <a:t>/</a:t>
            </a:r>
            <a:r>
              <a:rPr lang="de-DE" dirty="0" err="1">
                <a:solidFill>
                  <a:srgbClr val="313131"/>
                </a:solidFill>
              </a:rPr>
              <a:t>inspiration</a:t>
            </a:r>
            <a:endParaRPr lang="de-DE" dirty="0">
              <a:solidFill>
                <a:srgbClr val="313131"/>
              </a:solidFill>
            </a:endParaRPr>
          </a:p>
        </p:txBody>
      </p:sp>
      <p:sp>
        <p:nvSpPr>
          <p:cNvPr id="18" name="Rectangle 30">
            <a:extLst>
              <a:ext uri="{FF2B5EF4-FFF2-40B4-BE49-F238E27FC236}">
                <a16:creationId xmlns:a16="http://schemas.microsoft.com/office/drawing/2014/main" id="{48CEA55B-5D29-9F22-AF3F-A23749500348}"/>
              </a:ext>
            </a:extLst>
          </p:cNvPr>
          <p:cNvSpPr/>
          <p:nvPr/>
        </p:nvSpPr>
        <p:spPr>
          <a:xfrm>
            <a:off x="4447922" y="4515791"/>
            <a:ext cx="836406" cy="228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 ipsum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Oval 31">
            <a:extLst>
              <a:ext uri="{FF2B5EF4-FFF2-40B4-BE49-F238E27FC236}">
                <a16:creationId xmlns:a16="http://schemas.microsoft.com/office/drawing/2014/main" id="{135CE7F2-119A-24D6-0B17-619932018F6F}"/>
              </a:ext>
            </a:extLst>
          </p:cNvPr>
          <p:cNvSpPr/>
          <p:nvPr/>
        </p:nvSpPr>
        <p:spPr bwMode="gray">
          <a:xfrm>
            <a:off x="4360230" y="2991485"/>
            <a:ext cx="1404621" cy="1401717"/>
          </a:xfrm>
          <a:prstGeom prst="ellipse">
            <a:avLst/>
          </a:prstGeom>
          <a:solidFill>
            <a:srgbClr val="009A44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Oval 37">
            <a:extLst>
              <a:ext uri="{FF2B5EF4-FFF2-40B4-BE49-F238E27FC236}">
                <a16:creationId xmlns:a16="http://schemas.microsoft.com/office/drawing/2014/main" id="{B60DB0CE-956B-2C87-0AC4-46B6740C3DF1}"/>
              </a:ext>
            </a:extLst>
          </p:cNvPr>
          <p:cNvSpPr/>
          <p:nvPr/>
        </p:nvSpPr>
        <p:spPr bwMode="gray">
          <a:xfrm>
            <a:off x="4519908" y="3150833"/>
            <a:ext cx="1085264" cy="108302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23" name="Grafik 15" descr="Architektur Silhouette">
            <a:extLst>
              <a:ext uri="{FF2B5EF4-FFF2-40B4-BE49-F238E27FC236}">
                <a16:creationId xmlns:a16="http://schemas.microsoft.com/office/drawing/2014/main" id="{CA29AD39-4B29-297D-813A-80583372E5CC}"/>
              </a:ext>
            </a:extLst>
          </p:cNvPr>
          <p:cNvGrpSpPr/>
          <p:nvPr/>
        </p:nvGrpSpPr>
        <p:grpSpPr>
          <a:xfrm>
            <a:off x="4697695" y="3368264"/>
            <a:ext cx="809970" cy="582879"/>
            <a:chOff x="4984741" y="3120746"/>
            <a:chExt cx="838153" cy="629325"/>
          </a:xfrm>
          <a:solidFill>
            <a:srgbClr val="009A44"/>
          </a:solidFill>
        </p:grpSpPr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3F95F681-D5F3-952F-2BAA-FED8EA7BAAAD}"/>
                </a:ext>
              </a:extLst>
            </p:cNvPr>
            <p:cNvSpPr/>
            <p:nvPr/>
          </p:nvSpPr>
          <p:spPr>
            <a:xfrm>
              <a:off x="4984741" y="3140472"/>
              <a:ext cx="638174" cy="609600"/>
            </a:xfrm>
            <a:custGeom>
              <a:avLst/>
              <a:gdLst>
                <a:gd name="connsiteX0" fmla="*/ 619125 w 638174"/>
                <a:gd name="connsiteY0" fmla="*/ 590550 h 609600"/>
                <a:gd name="connsiteX1" fmla="*/ 57150 w 638174"/>
                <a:gd name="connsiteY1" fmla="*/ 590550 h 609600"/>
                <a:gd name="connsiteX2" fmla="*/ 19050 w 638174"/>
                <a:gd name="connsiteY2" fmla="*/ 552450 h 609600"/>
                <a:gd name="connsiteX3" fmla="*/ 57150 w 638174"/>
                <a:gd name="connsiteY3" fmla="*/ 514350 h 609600"/>
                <a:gd name="connsiteX4" fmla="*/ 133350 w 638174"/>
                <a:gd name="connsiteY4" fmla="*/ 514350 h 609600"/>
                <a:gd name="connsiteX5" fmla="*/ 133350 w 638174"/>
                <a:gd name="connsiteY5" fmla="*/ 114300 h 609600"/>
                <a:gd name="connsiteX6" fmla="*/ 603885 w 638174"/>
                <a:gd name="connsiteY6" fmla="*/ 114300 h 609600"/>
                <a:gd name="connsiteX7" fmla="*/ 622935 w 638174"/>
                <a:gd name="connsiteY7" fmla="*/ 95250 h 609600"/>
                <a:gd name="connsiteX8" fmla="*/ 133350 w 638174"/>
                <a:gd name="connsiteY8" fmla="*/ 95250 h 609600"/>
                <a:gd name="connsiteX9" fmla="*/ 133350 w 638174"/>
                <a:gd name="connsiteY9" fmla="*/ 0 h 609600"/>
                <a:gd name="connsiteX10" fmla="*/ 57150 w 638174"/>
                <a:gd name="connsiteY10" fmla="*/ 0 h 609600"/>
                <a:gd name="connsiteX11" fmla="*/ 0 w 638174"/>
                <a:gd name="connsiteY11" fmla="*/ 57150 h 609600"/>
                <a:gd name="connsiteX12" fmla="*/ 0 w 638174"/>
                <a:gd name="connsiteY12" fmla="*/ 552450 h 609600"/>
                <a:gd name="connsiteX13" fmla="*/ 57150 w 638174"/>
                <a:gd name="connsiteY13" fmla="*/ 609600 h 609600"/>
                <a:gd name="connsiteX14" fmla="*/ 638175 w 638174"/>
                <a:gd name="connsiteY14" fmla="*/ 609600 h 609600"/>
                <a:gd name="connsiteX15" fmla="*/ 638175 w 638174"/>
                <a:gd name="connsiteY15" fmla="*/ 280816 h 609600"/>
                <a:gd name="connsiteX16" fmla="*/ 619125 w 638174"/>
                <a:gd name="connsiteY16" fmla="*/ 299866 h 609600"/>
                <a:gd name="connsiteX17" fmla="*/ 19050 w 638174"/>
                <a:gd name="connsiteY17" fmla="*/ 57150 h 609600"/>
                <a:gd name="connsiteX18" fmla="*/ 57150 w 638174"/>
                <a:gd name="connsiteY18" fmla="*/ 19050 h 609600"/>
                <a:gd name="connsiteX19" fmla="*/ 114300 w 638174"/>
                <a:gd name="connsiteY19" fmla="*/ 19050 h 609600"/>
                <a:gd name="connsiteX20" fmla="*/ 114300 w 638174"/>
                <a:gd name="connsiteY20" fmla="*/ 495300 h 609600"/>
                <a:gd name="connsiteX21" fmla="*/ 57150 w 638174"/>
                <a:gd name="connsiteY21" fmla="*/ 495300 h 609600"/>
                <a:gd name="connsiteX22" fmla="*/ 19050 w 638174"/>
                <a:gd name="connsiteY22" fmla="*/ 509892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38174" h="609600">
                  <a:moveTo>
                    <a:pt x="619125" y="590550"/>
                  </a:moveTo>
                  <a:lnTo>
                    <a:pt x="57150" y="590550"/>
                  </a:lnTo>
                  <a:cubicBezTo>
                    <a:pt x="36108" y="590550"/>
                    <a:pt x="19050" y="573492"/>
                    <a:pt x="19050" y="552450"/>
                  </a:cubicBezTo>
                  <a:cubicBezTo>
                    <a:pt x="19050" y="531408"/>
                    <a:pt x="36108" y="514350"/>
                    <a:pt x="57150" y="514350"/>
                  </a:cubicBezTo>
                  <a:lnTo>
                    <a:pt x="133350" y="514350"/>
                  </a:lnTo>
                  <a:lnTo>
                    <a:pt x="133350" y="114300"/>
                  </a:lnTo>
                  <a:lnTo>
                    <a:pt x="603885" y="114300"/>
                  </a:lnTo>
                  <a:lnTo>
                    <a:pt x="622935" y="95250"/>
                  </a:lnTo>
                  <a:lnTo>
                    <a:pt x="133350" y="95250"/>
                  </a:lnTo>
                  <a:lnTo>
                    <a:pt x="133350" y="0"/>
                  </a:lnTo>
                  <a:lnTo>
                    <a:pt x="57150" y="0"/>
                  </a:lnTo>
                  <a:cubicBezTo>
                    <a:pt x="25602" y="37"/>
                    <a:pt x="37" y="25602"/>
                    <a:pt x="0" y="57150"/>
                  </a:cubicBezTo>
                  <a:lnTo>
                    <a:pt x="0" y="552450"/>
                  </a:lnTo>
                  <a:cubicBezTo>
                    <a:pt x="37" y="583998"/>
                    <a:pt x="25602" y="609563"/>
                    <a:pt x="57150" y="609600"/>
                  </a:cubicBezTo>
                  <a:lnTo>
                    <a:pt x="638175" y="609600"/>
                  </a:lnTo>
                  <a:lnTo>
                    <a:pt x="638175" y="280816"/>
                  </a:lnTo>
                  <a:lnTo>
                    <a:pt x="619125" y="299866"/>
                  </a:lnTo>
                  <a:close/>
                  <a:moveTo>
                    <a:pt x="19050" y="57150"/>
                  </a:moveTo>
                  <a:cubicBezTo>
                    <a:pt x="19050" y="36108"/>
                    <a:pt x="36108" y="19050"/>
                    <a:pt x="57150" y="19050"/>
                  </a:cubicBezTo>
                  <a:lnTo>
                    <a:pt x="114300" y="19050"/>
                  </a:lnTo>
                  <a:lnTo>
                    <a:pt x="114300" y="495300"/>
                  </a:lnTo>
                  <a:lnTo>
                    <a:pt x="57150" y="495300"/>
                  </a:lnTo>
                  <a:cubicBezTo>
                    <a:pt x="43083" y="495291"/>
                    <a:pt x="29512" y="500489"/>
                    <a:pt x="19050" y="5098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55807D47-D036-CBD7-5DFC-6AAC2A383472}"/>
                </a:ext>
              </a:extLst>
            </p:cNvPr>
            <p:cNvSpPr/>
            <p:nvPr/>
          </p:nvSpPr>
          <p:spPr>
            <a:xfrm>
              <a:off x="5181042" y="3120746"/>
              <a:ext cx="641852" cy="534075"/>
            </a:xfrm>
            <a:custGeom>
              <a:avLst/>
              <a:gdLst>
                <a:gd name="connsiteX0" fmla="*/ 636270 w 641852"/>
                <a:gd name="connsiteY0" fmla="*/ 38966 h 534075"/>
                <a:gd name="connsiteX1" fmla="*/ 602933 w 641852"/>
                <a:gd name="connsiteY1" fmla="*/ 5628 h 534075"/>
                <a:gd name="connsiteX2" fmla="*/ 576438 w 641852"/>
                <a:gd name="connsiteY2" fmla="*/ 5348 h 534075"/>
                <a:gd name="connsiteX3" fmla="*/ 576158 w 641852"/>
                <a:gd name="connsiteY3" fmla="*/ 5628 h 534075"/>
                <a:gd name="connsiteX4" fmla="*/ 332975 w 641852"/>
                <a:gd name="connsiteY4" fmla="*/ 249278 h 534075"/>
                <a:gd name="connsiteX5" fmla="*/ 331680 w 641852"/>
                <a:gd name="connsiteY5" fmla="*/ 252307 h 534075"/>
                <a:gd name="connsiteX6" fmla="*/ 310963 w 641852"/>
                <a:gd name="connsiteY6" fmla="*/ 316324 h 534075"/>
                <a:gd name="connsiteX7" fmla="*/ 183109 w 641852"/>
                <a:gd name="connsiteY7" fmla="*/ 194490 h 534075"/>
                <a:gd name="connsiteX8" fmla="*/ 0 w 641852"/>
                <a:gd name="connsiteY8" fmla="*/ 368131 h 534075"/>
                <a:gd name="connsiteX9" fmla="*/ 42196 w 641852"/>
                <a:gd name="connsiteY9" fmla="*/ 410326 h 534075"/>
                <a:gd name="connsiteX10" fmla="*/ 42196 w 641852"/>
                <a:gd name="connsiteY10" fmla="*/ 534075 h 534075"/>
                <a:gd name="connsiteX11" fmla="*/ 166021 w 641852"/>
                <a:gd name="connsiteY11" fmla="*/ 534075 h 534075"/>
                <a:gd name="connsiteX12" fmla="*/ 166021 w 641852"/>
                <a:gd name="connsiteY12" fmla="*/ 424938 h 534075"/>
                <a:gd name="connsiteX13" fmla="*/ 199358 w 641852"/>
                <a:gd name="connsiteY13" fmla="*/ 424938 h 534075"/>
                <a:gd name="connsiteX14" fmla="*/ 199358 w 641852"/>
                <a:gd name="connsiteY14" fmla="*/ 534075 h 534075"/>
                <a:gd name="connsiteX15" fmla="*/ 323183 w 641852"/>
                <a:gd name="connsiteY15" fmla="*/ 534075 h 534075"/>
                <a:gd name="connsiteX16" fmla="*/ 323183 w 641852"/>
                <a:gd name="connsiteY16" fmla="*/ 390648 h 534075"/>
                <a:gd name="connsiteX17" fmla="*/ 182689 w 641852"/>
                <a:gd name="connsiteY17" fmla="*/ 257183 h 534075"/>
                <a:gd name="connsiteX18" fmla="*/ 45920 w 641852"/>
                <a:gd name="connsiteY18" fmla="*/ 387114 h 534075"/>
                <a:gd name="connsiteX19" fmla="*/ 27299 w 641852"/>
                <a:gd name="connsiteY19" fmla="*/ 368493 h 534075"/>
                <a:gd name="connsiteX20" fmla="*/ 183071 w 641852"/>
                <a:gd name="connsiteY20" fmla="*/ 220769 h 534075"/>
                <a:gd name="connsiteX21" fmla="*/ 305619 w 641852"/>
                <a:gd name="connsiteY21" fmla="*/ 337546 h 534075"/>
                <a:gd name="connsiteX22" fmla="*/ 389582 w 641852"/>
                <a:gd name="connsiteY22" fmla="*/ 310209 h 534075"/>
                <a:gd name="connsiteX23" fmla="*/ 393487 w 641852"/>
                <a:gd name="connsiteY23" fmla="*/ 308552 h 534075"/>
                <a:gd name="connsiteX24" fmla="*/ 635803 w 641852"/>
                <a:gd name="connsiteY24" fmla="*/ 65274 h 534075"/>
                <a:gd name="connsiteX25" fmla="*/ 637426 w 641852"/>
                <a:gd name="connsiteY25" fmla="*/ 40163 h 534075"/>
                <a:gd name="connsiteX26" fmla="*/ 636270 w 641852"/>
                <a:gd name="connsiteY26" fmla="*/ 38966 h 534075"/>
                <a:gd name="connsiteX27" fmla="*/ 61246 w 641852"/>
                <a:gd name="connsiteY27" fmla="*/ 398820 h 534075"/>
                <a:gd name="connsiteX28" fmla="*/ 182689 w 641852"/>
                <a:gd name="connsiteY28" fmla="*/ 283453 h 534075"/>
                <a:gd name="connsiteX29" fmla="*/ 304133 w 641852"/>
                <a:gd name="connsiteY29" fmla="*/ 398820 h 534075"/>
                <a:gd name="connsiteX30" fmla="*/ 304133 w 641852"/>
                <a:gd name="connsiteY30" fmla="*/ 515025 h 534075"/>
                <a:gd name="connsiteX31" fmla="*/ 218408 w 641852"/>
                <a:gd name="connsiteY31" fmla="*/ 515025 h 534075"/>
                <a:gd name="connsiteX32" fmla="*/ 218408 w 641852"/>
                <a:gd name="connsiteY32" fmla="*/ 405888 h 534075"/>
                <a:gd name="connsiteX33" fmla="*/ 146971 w 641852"/>
                <a:gd name="connsiteY33" fmla="*/ 405888 h 534075"/>
                <a:gd name="connsiteX34" fmla="*/ 146971 w 641852"/>
                <a:gd name="connsiteY34" fmla="*/ 515025 h 534075"/>
                <a:gd name="connsiteX35" fmla="*/ 61246 w 641852"/>
                <a:gd name="connsiteY35" fmla="*/ 515025 h 534075"/>
                <a:gd name="connsiteX36" fmla="*/ 386582 w 641852"/>
                <a:gd name="connsiteY36" fmla="*/ 288530 h 534075"/>
                <a:gd name="connsiteX37" fmla="*/ 383229 w 641852"/>
                <a:gd name="connsiteY37" fmla="*/ 291883 h 534075"/>
                <a:gd name="connsiteX38" fmla="*/ 343443 w 641852"/>
                <a:gd name="connsiteY38" fmla="*/ 305008 h 534075"/>
                <a:gd name="connsiteX39" fmla="*/ 336975 w 641852"/>
                <a:gd name="connsiteY39" fmla="*/ 298541 h 534075"/>
                <a:gd name="connsiteX40" fmla="*/ 350034 w 641852"/>
                <a:gd name="connsiteY40" fmla="*/ 259165 h 534075"/>
                <a:gd name="connsiteX41" fmla="*/ 353930 w 641852"/>
                <a:gd name="connsiteY41" fmla="*/ 255259 h 534075"/>
                <a:gd name="connsiteX42" fmla="*/ 366665 w 641852"/>
                <a:gd name="connsiteY42" fmla="*/ 251659 h 534075"/>
                <a:gd name="connsiteX43" fmla="*/ 383629 w 641852"/>
                <a:gd name="connsiteY43" fmla="*/ 258765 h 534075"/>
                <a:gd name="connsiteX44" fmla="*/ 386582 w 641852"/>
                <a:gd name="connsiteY44" fmla="*/ 288530 h 534075"/>
                <a:gd name="connsiteX45" fmla="*/ 576529 w 641852"/>
                <a:gd name="connsiteY45" fmla="*/ 98545 h 534075"/>
                <a:gd name="connsiteX46" fmla="*/ 408651 w 641852"/>
                <a:gd name="connsiteY46" fmla="*/ 266423 h 534075"/>
                <a:gd name="connsiteX47" fmla="*/ 375523 w 641852"/>
                <a:gd name="connsiteY47" fmla="*/ 233580 h 534075"/>
                <a:gd name="connsiteX48" fmla="*/ 543582 w 641852"/>
                <a:gd name="connsiteY48" fmla="*/ 65121 h 534075"/>
                <a:gd name="connsiteX49" fmla="*/ 546764 w 641852"/>
                <a:gd name="connsiteY49" fmla="*/ 61930 h 534075"/>
                <a:gd name="connsiteX50" fmla="*/ 579834 w 641852"/>
                <a:gd name="connsiteY50" fmla="*/ 94973 h 534075"/>
                <a:gd name="connsiteX51" fmla="*/ 592950 w 641852"/>
                <a:gd name="connsiteY51" fmla="*/ 81180 h 534075"/>
                <a:gd name="connsiteX52" fmla="*/ 560232 w 641852"/>
                <a:gd name="connsiteY52" fmla="*/ 48462 h 534075"/>
                <a:gd name="connsiteX53" fmla="*/ 589540 w 641852"/>
                <a:gd name="connsiteY53" fmla="*/ 19173 h 534075"/>
                <a:gd name="connsiteX54" fmla="*/ 622240 w 641852"/>
                <a:gd name="connsiteY54" fmla="*/ 51891 h 53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41852" h="534075">
                  <a:moveTo>
                    <a:pt x="636270" y="38966"/>
                  </a:moveTo>
                  <a:lnTo>
                    <a:pt x="602933" y="5628"/>
                  </a:lnTo>
                  <a:cubicBezTo>
                    <a:pt x="595694" y="-1765"/>
                    <a:pt x="583831" y="-1891"/>
                    <a:pt x="576438" y="5348"/>
                  </a:cubicBezTo>
                  <a:cubicBezTo>
                    <a:pt x="576343" y="5441"/>
                    <a:pt x="576250" y="5534"/>
                    <a:pt x="576158" y="5628"/>
                  </a:cubicBezTo>
                  <a:lnTo>
                    <a:pt x="332975" y="249278"/>
                  </a:lnTo>
                  <a:lnTo>
                    <a:pt x="331680" y="252307"/>
                  </a:lnTo>
                  <a:lnTo>
                    <a:pt x="310963" y="316324"/>
                  </a:lnTo>
                  <a:lnTo>
                    <a:pt x="183109" y="194490"/>
                  </a:lnTo>
                  <a:lnTo>
                    <a:pt x="0" y="368131"/>
                  </a:lnTo>
                  <a:lnTo>
                    <a:pt x="42196" y="410326"/>
                  </a:lnTo>
                  <a:lnTo>
                    <a:pt x="42196" y="534075"/>
                  </a:lnTo>
                  <a:lnTo>
                    <a:pt x="166021" y="534075"/>
                  </a:lnTo>
                  <a:lnTo>
                    <a:pt x="166021" y="424938"/>
                  </a:lnTo>
                  <a:lnTo>
                    <a:pt x="199358" y="424938"/>
                  </a:lnTo>
                  <a:lnTo>
                    <a:pt x="199358" y="534075"/>
                  </a:lnTo>
                  <a:lnTo>
                    <a:pt x="323183" y="534075"/>
                  </a:lnTo>
                  <a:lnTo>
                    <a:pt x="323183" y="390648"/>
                  </a:lnTo>
                  <a:lnTo>
                    <a:pt x="182689" y="257183"/>
                  </a:lnTo>
                  <a:lnTo>
                    <a:pt x="45920" y="387114"/>
                  </a:lnTo>
                  <a:lnTo>
                    <a:pt x="27299" y="368493"/>
                  </a:lnTo>
                  <a:lnTo>
                    <a:pt x="183071" y="220769"/>
                  </a:lnTo>
                  <a:lnTo>
                    <a:pt x="305619" y="337546"/>
                  </a:lnTo>
                  <a:lnTo>
                    <a:pt x="389582" y="310209"/>
                  </a:lnTo>
                  <a:lnTo>
                    <a:pt x="393487" y="308552"/>
                  </a:lnTo>
                  <a:lnTo>
                    <a:pt x="635803" y="65274"/>
                  </a:lnTo>
                  <a:cubicBezTo>
                    <a:pt x="643185" y="58788"/>
                    <a:pt x="643912" y="47546"/>
                    <a:pt x="637426" y="40163"/>
                  </a:cubicBezTo>
                  <a:cubicBezTo>
                    <a:pt x="637060" y="39747"/>
                    <a:pt x="636674" y="39347"/>
                    <a:pt x="636270" y="38966"/>
                  </a:cubicBezTo>
                  <a:close/>
                  <a:moveTo>
                    <a:pt x="61246" y="398820"/>
                  </a:moveTo>
                  <a:lnTo>
                    <a:pt x="182689" y="283453"/>
                  </a:lnTo>
                  <a:lnTo>
                    <a:pt x="304133" y="398820"/>
                  </a:lnTo>
                  <a:lnTo>
                    <a:pt x="304133" y="515025"/>
                  </a:lnTo>
                  <a:lnTo>
                    <a:pt x="218408" y="515025"/>
                  </a:lnTo>
                  <a:lnTo>
                    <a:pt x="218408" y="405888"/>
                  </a:lnTo>
                  <a:lnTo>
                    <a:pt x="146971" y="405888"/>
                  </a:lnTo>
                  <a:lnTo>
                    <a:pt x="146971" y="515025"/>
                  </a:lnTo>
                  <a:lnTo>
                    <a:pt x="61246" y="515025"/>
                  </a:lnTo>
                  <a:close/>
                  <a:moveTo>
                    <a:pt x="386582" y="288530"/>
                  </a:moveTo>
                  <a:lnTo>
                    <a:pt x="383229" y="291883"/>
                  </a:lnTo>
                  <a:lnTo>
                    <a:pt x="343443" y="305008"/>
                  </a:lnTo>
                  <a:lnTo>
                    <a:pt x="336975" y="298541"/>
                  </a:lnTo>
                  <a:lnTo>
                    <a:pt x="350034" y="259165"/>
                  </a:lnTo>
                  <a:lnTo>
                    <a:pt x="353930" y="255259"/>
                  </a:lnTo>
                  <a:cubicBezTo>
                    <a:pt x="357769" y="252923"/>
                    <a:pt x="362171" y="251678"/>
                    <a:pt x="366665" y="251659"/>
                  </a:cubicBezTo>
                  <a:cubicBezTo>
                    <a:pt x="373043" y="251660"/>
                    <a:pt x="379154" y="254220"/>
                    <a:pt x="383629" y="258765"/>
                  </a:cubicBezTo>
                  <a:cubicBezTo>
                    <a:pt x="391745" y="266636"/>
                    <a:pt x="392994" y="279218"/>
                    <a:pt x="386582" y="288530"/>
                  </a:cubicBezTo>
                  <a:close/>
                  <a:moveTo>
                    <a:pt x="576529" y="98545"/>
                  </a:moveTo>
                  <a:lnTo>
                    <a:pt x="408651" y="266423"/>
                  </a:lnTo>
                  <a:cubicBezTo>
                    <a:pt x="404999" y="249929"/>
                    <a:pt x="392048" y="237090"/>
                    <a:pt x="375523" y="233580"/>
                  </a:cubicBezTo>
                  <a:lnTo>
                    <a:pt x="543582" y="65121"/>
                  </a:lnTo>
                  <a:lnTo>
                    <a:pt x="546764" y="61930"/>
                  </a:lnTo>
                  <a:lnTo>
                    <a:pt x="579834" y="94973"/>
                  </a:lnTo>
                  <a:close/>
                  <a:moveTo>
                    <a:pt x="592950" y="81180"/>
                  </a:moveTo>
                  <a:lnTo>
                    <a:pt x="560232" y="48462"/>
                  </a:lnTo>
                  <a:lnTo>
                    <a:pt x="589540" y="19173"/>
                  </a:lnTo>
                  <a:lnTo>
                    <a:pt x="622240" y="518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8247998-1933-2AD6-9AE9-CDC8C21F1B01}"/>
              </a:ext>
            </a:extLst>
          </p:cNvPr>
          <p:cNvGrpSpPr/>
          <p:nvPr/>
        </p:nvGrpSpPr>
        <p:grpSpPr>
          <a:xfrm>
            <a:off x="955536" y="3821828"/>
            <a:ext cx="883896" cy="1446899"/>
            <a:chOff x="955536" y="4587978"/>
            <a:chExt cx="1703073" cy="2786208"/>
          </a:xfrm>
        </p:grpSpPr>
        <p:grpSp>
          <p:nvGrpSpPr>
            <p:cNvPr id="28" name="Group 52">
              <a:extLst>
                <a:ext uri="{FF2B5EF4-FFF2-40B4-BE49-F238E27FC236}">
                  <a16:creationId xmlns:a16="http://schemas.microsoft.com/office/drawing/2014/main" id="{0300E51F-9E17-BE7E-ED4F-90673E89971E}"/>
                </a:ext>
              </a:extLst>
            </p:cNvPr>
            <p:cNvGrpSpPr/>
            <p:nvPr/>
          </p:nvGrpSpPr>
          <p:grpSpPr>
            <a:xfrm>
              <a:off x="955536" y="4587978"/>
              <a:ext cx="1703073" cy="2786208"/>
              <a:chOff x="1803653" y="1995975"/>
              <a:chExt cx="1703073" cy="2786208"/>
            </a:xfrm>
          </p:grpSpPr>
          <p:sp>
            <p:nvSpPr>
              <p:cNvPr id="32" name="Rectangle 53">
                <a:extLst>
                  <a:ext uri="{FF2B5EF4-FFF2-40B4-BE49-F238E27FC236}">
                    <a16:creationId xmlns:a16="http://schemas.microsoft.com/office/drawing/2014/main" id="{8534F536-7E59-1761-05DD-9DB2A5DEE510}"/>
                  </a:ext>
                </a:extLst>
              </p:cNvPr>
              <p:cNvSpPr/>
              <p:nvPr/>
            </p:nvSpPr>
            <p:spPr>
              <a:xfrm>
                <a:off x="1909978" y="3844164"/>
                <a:ext cx="101412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</a:t>
                </a:r>
                <a:endPara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3" name="Oval 55">
                <a:extLst>
                  <a:ext uri="{FF2B5EF4-FFF2-40B4-BE49-F238E27FC236}">
                    <a16:creationId xmlns:a16="http://schemas.microsoft.com/office/drawing/2014/main" id="{9D3BC9B5-949A-8CD2-37F2-BA878E417AFE}"/>
                  </a:ext>
                </a:extLst>
              </p:cNvPr>
              <p:cNvSpPr/>
              <p:nvPr/>
            </p:nvSpPr>
            <p:spPr bwMode="gray">
              <a:xfrm>
                <a:off x="1803653" y="1995975"/>
                <a:ext cx="1703073" cy="1699552"/>
              </a:xfrm>
              <a:prstGeom prst="ellipse">
                <a:avLst/>
              </a:prstGeom>
              <a:solidFill>
                <a:srgbClr val="00ABAB"/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4" name="Oval 60">
                <a:extLst>
                  <a:ext uri="{FF2B5EF4-FFF2-40B4-BE49-F238E27FC236}">
                    <a16:creationId xmlns:a16="http://schemas.microsoft.com/office/drawing/2014/main" id="{091E3493-81E0-3EAE-38BD-231C75C3A4A4}"/>
                  </a:ext>
                </a:extLst>
              </p:cNvPr>
              <p:cNvSpPr/>
              <p:nvPr/>
            </p:nvSpPr>
            <p:spPr bwMode="gray">
              <a:xfrm>
                <a:off x="1997259" y="2189181"/>
                <a:ext cx="1315860" cy="131313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de-D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G</a:t>
                </a:r>
              </a:p>
            </p:txBody>
          </p:sp>
          <p:sp>
            <p:nvSpPr>
              <p:cNvPr id="35" name="Rectangle 61">
                <a:extLst>
                  <a:ext uri="{FF2B5EF4-FFF2-40B4-BE49-F238E27FC236}">
                    <a16:creationId xmlns:a16="http://schemas.microsoft.com/office/drawing/2014/main" id="{63FD4721-9A12-238F-9EED-C6022E7493C4}"/>
                  </a:ext>
                </a:extLst>
              </p:cNvPr>
              <p:cNvSpPr/>
              <p:nvPr/>
            </p:nvSpPr>
            <p:spPr>
              <a:xfrm>
                <a:off x="1931198" y="4182019"/>
                <a:ext cx="1480757" cy="6001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 dolor sit amet, consectetur adipiscing elit</a:t>
                </a:r>
                <a:endPara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pic>
          <p:nvPicPr>
            <p:cNvPr id="29" name="Grafik 28" descr="Schraubenschlüssel mit einfarbiger Füllung">
              <a:extLst>
                <a:ext uri="{FF2B5EF4-FFF2-40B4-BE49-F238E27FC236}">
                  <a16:creationId xmlns:a16="http://schemas.microsoft.com/office/drawing/2014/main" id="{3A26CF59-3619-DA37-8754-F8D063B468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82170" y="4855891"/>
              <a:ext cx="914400" cy="914400"/>
            </a:xfrm>
            <a:prstGeom prst="rect">
              <a:avLst/>
            </a:prstGeom>
          </p:spPr>
        </p:pic>
        <p:pic>
          <p:nvPicPr>
            <p:cNvPr id="30" name="Grafik 29" descr="Zahnräder mit einfarbiger Füllung">
              <a:extLst>
                <a:ext uri="{FF2B5EF4-FFF2-40B4-BE49-F238E27FC236}">
                  <a16:creationId xmlns:a16="http://schemas.microsoft.com/office/drawing/2014/main" id="{0C83ACE0-8145-185C-E994-EBF47A655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36362" y="5005891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1138654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utlook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51104" y="667346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How</a:t>
            </a:r>
            <a:r>
              <a:rPr lang="de-DE" dirty="0"/>
              <a:t> coul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further</a:t>
            </a:r>
            <a:r>
              <a:rPr lang="de-DE" dirty="0"/>
              <a:t> </a:t>
            </a:r>
            <a:r>
              <a:rPr lang="de-DE" dirty="0" err="1"/>
              <a:t>improved</a:t>
            </a:r>
            <a:r>
              <a:rPr lang="de-DE" dirty="0"/>
              <a:t>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/>
          <p:nvPr/>
        </p:nvGrpSpPr>
        <p:grpSpPr>
          <a:xfrm>
            <a:off x="955536" y="1950693"/>
            <a:ext cx="1703073" cy="2786208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rgbClr val="005587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7" name="Group 52">
            <a:extLst>
              <a:ext uri="{FF2B5EF4-FFF2-40B4-BE49-F238E27FC236}">
                <a16:creationId xmlns:a16="http://schemas.microsoft.com/office/drawing/2014/main" id="{FC143D0D-E694-49B5-B47F-9A5BBFA66612}"/>
              </a:ext>
            </a:extLst>
          </p:cNvPr>
          <p:cNvGrpSpPr/>
          <p:nvPr/>
        </p:nvGrpSpPr>
        <p:grpSpPr>
          <a:xfrm>
            <a:off x="955536" y="4071792"/>
            <a:ext cx="1703073" cy="2786208"/>
            <a:chOff x="1803653" y="1995975"/>
            <a:chExt cx="1703073" cy="2786208"/>
          </a:xfrm>
        </p:grpSpPr>
        <p:sp>
          <p:nvSpPr>
            <p:cNvPr id="48" name="Rectangle 53">
              <a:extLst>
                <a:ext uri="{FF2B5EF4-FFF2-40B4-BE49-F238E27FC236}">
                  <a16:creationId xmlns:a16="http://schemas.microsoft.com/office/drawing/2014/main" id="{31985CC6-F3E9-2BA3-6719-EA64A2F89E3F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9" name="Oval 55">
              <a:extLst>
                <a:ext uri="{FF2B5EF4-FFF2-40B4-BE49-F238E27FC236}">
                  <a16:creationId xmlns:a16="http://schemas.microsoft.com/office/drawing/2014/main" id="{729729EE-E3EB-D38F-5E85-ED0B7B16C4E3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rgbClr val="046A38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0" name="Oval 60">
              <a:extLst>
                <a:ext uri="{FF2B5EF4-FFF2-40B4-BE49-F238E27FC236}">
                  <a16:creationId xmlns:a16="http://schemas.microsoft.com/office/drawing/2014/main" id="{DB307EA9-317E-2F43-9C94-66EDF499BBD6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G</a:t>
              </a:r>
            </a:p>
          </p:txBody>
        </p:sp>
        <p:sp>
          <p:nvSpPr>
            <p:cNvPr id="51" name="Rectangle 61">
              <a:extLst>
                <a:ext uri="{FF2B5EF4-FFF2-40B4-BE49-F238E27FC236}">
                  <a16:creationId xmlns:a16="http://schemas.microsoft.com/office/drawing/2014/main" id="{77585DEE-E8AC-A124-C749-F999FE301092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70" name="Rectangle 78">
            <a:extLst>
              <a:ext uri="{FF2B5EF4-FFF2-40B4-BE49-F238E27FC236}">
                <a16:creationId xmlns:a16="http://schemas.microsoft.com/office/drawing/2014/main" id="{1E742322-064F-2CCC-0CC7-FC51DB767882}"/>
              </a:ext>
            </a:extLst>
          </p:cNvPr>
          <p:cNvSpPr/>
          <p:nvPr/>
        </p:nvSpPr>
        <p:spPr>
          <a:xfrm>
            <a:off x="3037769" y="2611713"/>
            <a:ext cx="6361412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More </a:t>
            </a:r>
            <a:r>
              <a:rPr lang="de-DE" dirty="0" err="1">
                <a:solidFill>
                  <a:srgbClr val="313131"/>
                </a:solidFill>
              </a:rPr>
              <a:t>detailed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analysi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of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our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best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parameters</a:t>
            </a:r>
            <a:endParaRPr lang="de-DE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How</a:t>
            </a:r>
            <a:r>
              <a:rPr lang="de-DE" dirty="0">
                <a:solidFill>
                  <a:srgbClr val="313131"/>
                </a:solidFill>
              </a:rPr>
              <a:t> do </a:t>
            </a:r>
            <a:r>
              <a:rPr lang="de-DE" dirty="0" err="1">
                <a:solidFill>
                  <a:srgbClr val="313131"/>
                </a:solidFill>
              </a:rPr>
              <a:t>the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parameter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influence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he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shepherd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strategy</a:t>
            </a:r>
            <a:r>
              <a:rPr lang="de-DE" dirty="0">
                <a:solidFill>
                  <a:srgbClr val="313131"/>
                </a:solidFill>
              </a:rPr>
              <a:t>?</a:t>
            </a:r>
          </a:p>
        </p:txBody>
      </p:sp>
      <p:sp>
        <p:nvSpPr>
          <p:cNvPr id="72" name="Rectangle 78">
            <a:extLst>
              <a:ext uri="{FF2B5EF4-FFF2-40B4-BE49-F238E27FC236}">
                <a16:creationId xmlns:a16="http://schemas.microsoft.com/office/drawing/2014/main" id="{4E5AF55B-DD59-AD42-9421-4909FE416E45}"/>
              </a:ext>
            </a:extLst>
          </p:cNvPr>
          <p:cNvSpPr/>
          <p:nvPr/>
        </p:nvSpPr>
        <p:spPr>
          <a:xfrm>
            <a:off x="3037769" y="4736901"/>
            <a:ext cx="6871775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Actual</a:t>
            </a:r>
            <a:r>
              <a:rPr lang="de-DE" dirty="0">
                <a:solidFill>
                  <a:srgbClr val="313131"/>
                </a:solidFill>
              </a:rPr>
              <a:t> Repulsion-</a:t>
            </a:r>
            <a:r>
              <a:rPr lang="de-DE" dirty="0" err="1">
                <a:solidFill>
                  <a:srgbClr val="313131"/>
                </a:solidFill>
              </a:rPr>
              <a:t>force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Fence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Introducing</a:t>
            </a:r>
            <a:r>
              <a:rPr lang="de-DE" dirty="0">
                <a:solidFill>
                  <a:srgbClr val="313131"/>
                </a:solidFill>
              </a:rPr>
              <a:t> additional </a:t>
            </a:r>
            <a:r>
              <a:rPr lang="de-DE" dirty="0" err="1">
                <a:solidFill>
                  <a:srgbClr val="313131"/>
                </a:solidFill>
              </a:rPr>
              <a:t>obstacle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along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he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path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arget</a:t>
            </a:r>
            <a:endParaRPr lang="de-DE" dirty="0">
              <a:solidFill>
                <a:srgbClr val="313131"/>
              </a:solidFill>
            </a:endParaRPr>
          </a:p>
        </p:txBody>
      </p:sp>
      <p:pic>
        <p:nvPicPr>
          <p:cNvPr id="15" name="Grafik 14" descr="Lupe mit einfarbiger Füllung">
            <a:extLst>
              <a:ext uri="{FF2B5EF4-FFF2-40B4-BE49-F238E27FC236}">
                <a16:creationId xmlns:a16="http://schemas.microsoft.com/office/drawing/2014/main" id="{E99B9EC7-CF3C-E99B-2F9D-57D6C986B4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49872" y="2322750"/>
            <a:ext cx="914400" cy="914400"/>
          </a:xfrm>
          <a:prstGeom prst="rect">
            <a:avLst/>
          </a:prstGeom>
        </p:spPr>
      </p:pic>
      <p:pic>
        <p:nvPicPr>
          <p:cNvPr id="17" name="Grafik 16" descr="Vollziegelwand mit einfarbiger Füllung">
            <a:extLst>
              <a:ext uri="{FF2B5EF4-FFF2-40B4-BE49-F238E27FC236}">
                <a16:creationId xmlns:a16="http://schemas.microsoft.com/office/drawing/2014/main" id="{347A4F65-CC16-E1C8-5DB2-534515F7CF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80687" y="447406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9255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fik 3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DD643831-9107-387A-0410-25C7844641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1" r="10194" b="1"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8CDBD4F-867F-D835-9080-322F7C92E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2507" y="-1006998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Thank you for your attention!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4961FE0-164A-2527-0673-42973BA70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08253" y="6451192"/>
            <a:ext cx="9144000" cy="528343"/>
          </a:xfrm>
        </p:spPr>
        <p:txBody>
          <a:bodyPr vert="horz" lIns="91440" tIns="45720" rIns="91440" bIns="45720" rtlCol="0">
            <a:norm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Franziska Weber, Franz Muszarsky, Kimberley Frings</a:t>
            </a:r>
          </a:p>
        </p:txBody>
      </p:sp>
    </p:spTree>
    <p:extLst>
      <p:ext uri="{BB962C8B-B14F-4D97-AF65-F5344CB8AC3E}">
        <p14:creationId xmlns:p14="http://schemas.microsoft.com/office/powerpoint/2010/main" val="3220621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  <a:br>
              <a:rPr lang="de-DE" dirty="0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3763769"/>
            <a:ext cx="2160000" cy="4003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53565A"/>
                </a:solidFill>
                <a:latin typeface="Calibri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86BC25"/>
                </a:solidFill>
                <a:latin typeface="Calibri"/>
              </a:rPr>
              <a:t>Extens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  <p:pic>
        <p:nvPicPr>
          <p:cNvPr id="40" name="Grafik 39" descr="Schaf mit einfarbiger Füllung">
            <a:extLst>
              <a:ext uri="{FF2B5EF4-FFF2-40B4-BE49-F238E27FC236}">
                <a16:creationId xmlns:a16="http://schemas.microsoft.com/office/drawing/2014/main" id="{8637FC9F-4280-7CD0-0049-DA65AF8B80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6533" y="2070495"/>
            <a:ext cx="828000" cy="82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3795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54176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84" y="383856"/>
            <a:ext cx="11180232" cy="698501"/>
          </a:xfrm>
        </p:spPr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Shepherding</a:t>
            </a:r>
            <a:r>
              <a:rPr lang="de-DE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45680" y="210064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94728" y="3149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7184" y="226566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3680" y="466342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0728" y="383542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74243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9493199" y="160819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Ziel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98880" y="3977600"/>
            <a:ext cx="914400" cy="914400"/>
          </a:xfrm>
          <a:prstGeom prst="rect">
            <a:avLst/>
          </a:prstGeom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F917271-D71B-941C-7BC3-5EE940A65C70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4" name="Group 119">
            <a:extLst>
              <a:ext uri="{FF2B5EF4-FFF2-40B4-BE49-F238E27FC236}">
                <a16:creationId xmlns:a16="http://schemas.microsoft.com/office/drawing/2014/main" id="{A2680AA9-E544-81B9-6F4D-B2A63AFE82D0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35" name="Teardrop 121">
              <a:extLst>
                <a:ext uri="{FF2B5EF4-FFF2-40B4-BE49-F238E27FC236}">
                  <a16:creationId xmlns:a16="http://schemas.microsoft.com/office/drawing/2014/main" id="{04B0C7A4-405D-056D-98B5-8E29CCA4E3FB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5EE4BAB9-B490-6A69-EC63-89945F767184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Oval 124">
              <a:extLst>
                <a:ext uri="{FF2B5EF4-FFF2-40B4-BE49-F238E27FC236}">
                  <a16:creationId xmlns:a16="http://schemas.microsoft.com/office/drawing/2014/main" id="{CC3F290F-468D-8097-C5B6-C484808D2428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38" name="Grafik 37" descr="Schaf mit einfarbiger Füllung">
            <a:extLst>
              <a:ext uri="{FF2B5EF4-FFF2-40B4-BE49-F238E27FC236}">
                <a16:creationId xmlns:a16="http://schemas.microsoft.com/office/drawing/2014/main" id="{FB01B29F-F59B-9187-0B40-6C28944CA4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306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 animBg="1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48080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Shepherding</a:t>
            </a:r>
            <a:r>
              <a:rPr lang="de-DE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1204" y="314960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17096" y="3563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3432" y="323598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85816" y="369316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6432" y="360680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68147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9487103" y="160819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Ziel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26582" y="3934400"/>
            <a:ext cx="914400" cy="914400"/>
          </a:xfrm>
          <a:prstGeom prst="rect">
            <a:avLst/>
          </a:prstGeom>
        </p:spPr>
      </p:pic>
      <p:grpSp>
        <p:nvGrpSpPr>
          <p:cNvPr id="16" name="Group 119">
            <a:extLst>
              <a:ext uri="{FF2B5EF4-FFF2-40B4-BE49-F238E27FC236}">
                <a16:creationId xmlns:a16="http://schemas.microsoft.com/office/drawing/2014/main" id="{49BAD4DB-6F10-D67C-0F68-9D5117CEB9D7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17" name="Teardrop 121">
              <a:extLst>
                <a:ext uri="{FF2B5EF4-FFF2-40B4-BE49-F238E27FC236}">
                  <a16:creationId xmlns:a16="http://schemas.microsoft.com/office/drawing/2014/main" id="{A7682DAE-0B71-8B27-1EDA-B6470DE828D3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23">
              <a:extLst>
                <a:ext uri="{FF2B5EF4-FFF2-40B4-BE49-F238E27FC236}">
                  <a16:creationId xmlns:a16="http://schemas.microsoft.com/office/drawing/2014/main" id="{F5132F19-0FA0-DBEF-0B76-9E9690534B01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Oval 124">
              <a:extLst>
                <a:ext uri="{FF2B5EF4-FFF2-40B4-BE49-F238E27FC236}">
                  <a16:creationId xmlns:a16="http://schemas.microsoft.com/office/drawing/2014/main" id="{1D98D10A-9BE8-9BB0-226F-723E8DECEE8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20" name="Grafik 19" descr="Schaf mit einfarbiger Füllung">
            <a:extLst>
              <a:ext uri="{FF2B5EF4-FFF2-40B4-BE49-F238E27FC236}">
                <a16:creationId xmlns:a16="http://schemas.microsoft.com/office/drawing/2014/main" id="{5A8AD3DB-64B4-FD45-BC55-F1ECBFE322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3E158F2-4EA3-CB9D-B6E6-17A8256FF1C8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06474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4.07407E-6 L 3.33333E-6 0.00023 C 0.00859 -0.00255 0.01718 -0.00463 0.02578 -0.00764 C 0.04414 -0.01366 0.08073 -0.02686 0.08073 -0.02662 C 0.0858 -0.03033 0.09062 -0.03426 0.0957 -0.03727 C 0.09896 -0.03912 0.1026 -0.03936 0.10573 -0.04167 C 0.11211 -0.0463 0.11888 -0.05024 0.12409 -0.05787 C 0.13034 -0.06713 0.13073 -0.06875 0.13997 -0.0757 C 0.14336 -0.07824 0.14726 -0.0794 0.15078 -0.08172 C 0.15338 -0.08334 0.15573 -0.08588 0.1582 -0.0875 C 0.17786 -0.09977 0.15742 -0.08403 0.17578 -0.09792 C 0.17695 -0.09885 0.17799 -0.1 0.17903 -0.10093 C 0.18346 -0.10394 0.18802 -0.10672 0.19244 -0.10973 C 0.19518 -0.11181 0.19804 -0.11343 0.20078 -0.11574 C 0.2039 -0.11852 0.2138 -0.12824 0.21823 -0.12917 C 0.23372 -0.13172 0.24935 -0.13195 0.26497 -0.13357 C 0.26679 -0.13542 0.26862 -0.13797 0.2707 -0.13936 C 0.275 -0.1426 0.28489 -0.14862 0.29075 -0.15139 C 0.29218 -0.15186 0.29349 -0.15232 0.29492 -0.15278 C 0.2983 -0.15579 0.30273 -0.16042 0.30664 -0.16158 C 0.31237 -0.16366 0.32409 -0.16621 0.32409 -0.16598 C 0.32656 -0.1676 0.33242 -0.1713 0.33489 -0.17199 C 0.33737 -0.17292 0.33997 -0.17292 0.34244 -0.17362 C 0.34518 -0.17431 0.34791 -0.1757 0.35078 -0.17639 C 0.36276 -0.18033 0.35729 -0.17732 0.36328 -0.18102 C 0.36458 -0.18287 0.36588 -0.18519 0.36744 -0.18681 C 0.3681 -0.18774 0.36914 -0.1875 0.36992 -0.18843 C 0.37083 -0.18959 0.37148 -0.19144 0.37239 -0.19283 C 0.37474 -0.1963 0.37812 -0.19862 0.38073 -0.20024 C 0.38177 -0.20093 0.38294 -0.20116 0.38411 -0.20162 C 0.39192 -0.20556 0.37929 -0.20024 0.39075 -0.20463 C 0.39179 -0.2051 0.39414 -0.20602 0.39414 -0.20579 " pathEditMode="relative" rAng="0" ptsTypes="AAAAAAAAAAAAAAAAAAAAAAAAAAAAAAAA"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7 -1.11111E-6 L 4.16667E-7 0.00023 C 0.00859 -0.00255 0.01719 -0.00463 0.02578 -0.00764 C 0.04414 -0.01366 0.08073 -0.02685 0.08073 -0.02662 C 0.08581 -0.03032 0.09062 -0.03426 0.0957 -0.03727 C 0.09896 -0.03912 0.1026 -0.03935 0.10573 -0.04167 C 0.11211 -0.0463 0.11888 -0.05023 0.12409 -0.05787 C 0.13034 -0.06713 0.13073 -0.06875 0.13997 -0.07569 C 0.14336 -0.07824 0.14727 -0.0794 0.15078 -0.08171 C 0.15339 -0.08333 0.15573 -0.08588 0.1582 -0.0875 C 0.17786 -0.09977 0.15742 -0.08403 0.17578 -0.09792 C 0.17695 -0.09884 0.17799 -0.1 0.17904 -0.10092 C 0.18346 -0.10393 0.18802 -0.10671 0.19245 -0.10972 C 0.19518 -0.1118 0.19805 -0.11342 0.20078 -0.11574 C 0.20391 -0.11852 0.2138 -0.12824 0.21823 -0.12917 C 0.23372 -0.13171 0.24935 -0.13194 0.26497 -0.13356 C 0.2668 -0.13542 0.26862 -0.13796 0.2707 -0.13935 C 0.275 -0.14259 0.2849 -0.14861 0.29075 -0.15139 C 0.29219 -0.15185 0.29349 -0.15231 0.29492 -0.15278 C 0.29831 -0.15579 0.30273 -0.16042 0.30664 -0.16157 C 0.31237 -0.16366 0.32409 -0.1662 0.32409 -0.16597 C 0.32656 -0.16759 0.33242 -0.1713 0.3349 -0.17199 C 0.33737 -0.17292 0.33997 -0.17292 0.34245 -0.17361 C 0.34518 -0.1743 0.34792 -0.17569 0.35078 -0.17639 C 0.36276 -0.18032 0.35729 -0.17731 0.36328 -0.18102 C 0.36458 -0.18287 0.36589 -0.18518 0.36745 -0.1868 C 0.3681 -0.18773 0.36914 -0.1875 0.36992 -0.18842 C 0.37083 -0.18958 0.37148 -0.19143 0.3724 -0.19282 C 0.37474 -0.1963 0.37812 -0.19861 0.38073 -0.20023 C 0.38177 -0.20092 0.38294 -0.20116 0.38411 -0.20162 C 0.39193 -0.20555 0.3793 -0.20023 0.39075 -0.20463 C 0.3918 -0.20509 0.39414 -0.20602 0.39414 -0.20579 " pathEditMode="relative" rAng="0" ptsTypes="AAAAAAAAAAAAAAAAAAAAAAAAAAAAAAAA">
                                      <p:cBhvr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4.07407E-6 L 8.33333E-7 0.00023 C 0.00859 -0.00255 0.01719 -0.00463 0.02578 -0.00764 C 0.04414 -0.01366 0.08073 -0.02686 0.08073 -0.02662 C 0.08581 -0.03033 0.09062 -0.03426 0.0957 -0.03727 C 0.09896 -0.03912 0.1026 -0.03936 0.10573 -0.04167 C 0.11211 -0.0463 0.11888 -0.05024 0.12409 -0.05787 C 0.13034 -0.06713 0.13073 -0.06875 0.13997 -0.0757 C 0.14336 -0.07824 0.14726 -0.0794 0.15078 -0.08172 C 0.15338 -0.08334 0.15573 -0.08588 0.1582 -0.0875 C 0.17786 -0.09977 0.15742 -0.08403 0.17578 -0.09792 C 0.17695 -0.09885 0.17799 -0.1 0.17904 -0.10093 C 0.18346 -0.10394 0.18802 -0.10672 0.19245 -0.10973 C 0.19518 -0.11181 0.19805 -0.11343 0.20078 -0.11574 C 0.20391 -0.11852 0.2138 -0.12824 0.21823 -0.12917 C 0.23372 -0.13172 0.24935 -0.13195 0.26497 -0.13357 C 0.2668 -0.13542 0.26862 -0.13797 0.2707 -0.13936 C 0.275 -0.1426 0.2849 -0.14862 0.29075 -0.15139 C 0.29219 -0.15186 0.29349 -0.15232 0.29492 -0.15278 C 0.29831 -0.15579 0.30273 -0.16042 0.30664 -0.16158 C 0.31237 -0.16366 0.32409 -0.16621 0.32409 -0.16598 C 0.32656 -0.1676 0.33242 -0.1713 0.3349 -0.17199 C 0.33737 -0.17292 0.33997 -0.17292 0.34245 -0.17362 C 0.34518 -0.17431 0.34792 -0.1757 0.35078 -0.17639 C 0.36276 -0.18033 0.35729 -0.17732 0.36328 -0.18102 C 0.36458 -0.18287 0.36588 -0.18519 0.36745 -0.18681 C 0.3681 -0.18774 0.36914 -0.1875 0.36992 -0.18843 C 0.37083 -0.18959 0.37148 -0.19144 0.3724 -0.19283 C 0.37474 -0.1963 0.37812 -0.19862 0.38073 -0.20024 C 0.38177 -0.20093 0.38294 -0.20116 0.38411 -0.20162 C 0.39193 -0.20556 0.3793 -0.20024 0.39075 -0.20463 C 0.3918 -0.2051 0.39414 -0.20602 0.39414 -0.20579 " pathEditMode="relative" rAng="0" ptsTypes="AAAAAAAAAAAAAAAAAAAAAAAAAAAAAAAA">
                                      <p:cBhvr>
                                        <p:cTn id="1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-2.59259E-6 L 3.95833E-6 0.00023 C 0.00859 -0.00254 0.01718 -0.00463 0.02578 -0.00764 C 0.04414 -0.01365 0.08073 -0.02685 0.08073 -0.02662 C 0.0858 -0.03032 0.09062 -0.03426 0.0957 -0.03727 C 0.09895 -0.03912 0.1026 -0.03935 0.10573 -0.04166 C 0.11211 -0.04629 0.11888 -0.05023 0.12408 -0.05787 C 0.13033 -0.06713 0.13073 -0.06875 0.13997 -0.07569 C 0.14336 -0.07824 0.14726 -0.0794 0.15078 -0.08171 C 0.15338 -0.08333 0.15573 -0.08588 0.1582 -0.0875 C 0.17786 -0.09977 0.15742 -0.08403 0.17578 -0.09791 C 0.17695 -0.09884 0.17799 -0.1 0.17903 -0.10092 C 0.18346 -0.10393 0.18802 -0.10671 0.19244 -0.10972 C 0.19518 -0.1118 0.19804 -0.11342 0.20078 -0.11574 C 0.2039 -0.11852 0.2138 -0.12824 0.21823 -0.12916 C 0.23372 -0.13171 0.24935 -0.13194 0.26497 -0.13356 C 0.26679 -0.13541 0.26862 -0.13796 0.2707 -0.13935 C 0.275 -0.14259 0.28489 -0.14861 0.29075 -0.15139 C 0.29218 -0.15185 0.29349 -0.15231 0.29492 -0.15278 C 0.2983 -0.15578 0.30273 -0.16041 0.30664 -0.16157 C 0.31237 -0.16365 0.32408 -0.1662 0.32408 -0.16597 C 0.32656 -0.16759 0.33242 -0.17129 0.33489 -0.17199 C 0.33737 -0.17291 0.33997 -0.17291 0.34244 -0.17361 C 0.34518 -0.1743 0.34791 -0.17569 0.35078 -0.17639 C 0.36276 -0.18032 0.35729 -0.17731 0.36328 -0.18102 C 0.36458 -0.18287 0.36588 -0.18518 0.36744 -0.1868 C 0.3681 -0.18773 0.36914 -0.1875 0.36992 -0.18842 C 0.37083 -0.18958 0.37148 -0.19143 0.37239 -0.19282 C 0.37474 -0.19629 0.37812 -0.19861 0.38073 -0.20023 C 0.38177 -0.20092 0.38294 -0.20115 0.38411 -0.20162 C 0.39192 -0.20555 0.37929 -0.20023 0.39075 -0.20463 C 0.39179 -0.20509 0.39414 -0.20602 0.39414 -0.20578 " pathEditMode="relative" rAng="0" ptsTypes="AAAAAAAAAAAAAAAAAAAAAAAAAAAAAAAA">
                                      <p:cBhvr>
                                        <p:cTn id="12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112E-17 -2.59259E-6 L 5.55112E-17 0.00023 C 0.00859 -0.00254 0.01719 -0.00463 0.02578 -0.00764 C 0.04414 -0.01365 0.08073 -0.02685 0.08073 -0.02662 C 0.08581 -0.03032 0.09063 -0.03426 0.0957 -0.03727 C 0.09896 -0.03912 0.1026 -0.03935 0.10573 -0.04166 C 0.11211 -0.04629 0.11888 -0.05023 0.12409 -0.05787 C 0.13034 -0.06713 0.13073 -0.06875 0.13997 -0.07569 C 0.14336 -0.07824 0.14727 -0.0794 0.15078 -0.08171 C 0.15339 -0.08333 0.15573 -0.08588 0.1582 -0.0875 C 0.17786 -0.09977 0.15742 -0.08403 0.17578 -0.09791 C 0.17695 -0.09884 0.17799 -0.1 0.17904 -0.10092 C 0.18346 -0.10393 0.18802 -0.10671 0.19245 -0.10972 C 0.19518 -0.1118 0.19805 -0.11342 0.20078 -0.11574 C 0.20391 -0.11852 0.2138 -0.12824 0.21823 -0.12916 C 0.23372 -0.13171 0.24935 -0.13194 0.26497 -0.13356 C 0.2668 -0.13541 0.26862 -0.13796 0.2707 -0.13935 C 0.275 -0.14259 0.2849 -0.14861 0.29076 -0.15139 C 0.29219 -0.15185 0.29349 -0.15231 0.29492 -0.15278 C 0.29831 -0.15578 0.30273 -0.16041 0.30664 -0.16157 C 0.31237 -0.16365 0.32409 -0.1662 0.32409 -0.16597 C 0.32656 -0.16759 0.33242 -0.17129 0.3349 -0.17199 C 0.33737 -0.17291 0.33997 -0.17291 0.34245 -0.17361 C 0.34518 -0.1743 0.34792 -0.17569 0.35078 -0.17639 C 0.36276 -0.18032 0.35729 -0.17731 0.36328 -0.18102 C 0.36458 -0.18287 0.36589 -0.18518 0.36745 -0.1868 C 0.3681 -0.18773 0.36914 -0.1875 0.36992 -0.18842 C 0.37083 -0.18958 0.37148 -0.19143 0.3724 -0.19282 C 0.37474 -0.19629 0.37813 -0.19861 0.38073 -0.20023 C 0.38177 -0.20092 0.38294 -0.20115 0.38411 -0.20162 C 0.39193 -0.20555 0.3793 -0.20023 0.39076 -0.20463 C 0.3918 -0.20509 0.39414 -0.20602 0.39414 -0.20578 " pathEditMode="relative" rAng="0" ptsTypes="AAAAAAAAAAAAAAAAAAAAAAAAAAAAAAAA">
                                      <p:cBhvr>
                                        <p:cTn id="1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2.22222E-6 L 8.33333E-7 0.00023 C 0.00859 -0.00255 0.01719 -0.00463 0.02578 -0.00764 C 0.04414 -0.01366 0.08073 -0.02685 0.08073 -0.02662 C 0.08581 -0.03033 0.09062 -0.03426 0.0957 -0.03727 C 0.09896 -0.03912 0.1026 -0.03935 0.10573 -0.04167 C 0.11211 -0.0463 0.11888 -0.05023 0.12409 -0.05787 C 0.13034 -0.06713 0.13073 -0.06875 0.13997 -0.0757 C 0.14336 -0.07824 0.14726 -0.0794 0.15078 -0.08172 C 0.15338 -0.08334 0.15573 -0.08588 0.1582 -0.0875 C 0.17786 -0.09977 0.15742 -0.08403 0.17578 -0.09792 C 0.17695 -0.09884 0.17799 -0.1 0.17904 -0.10093 C 0.18346 -0.10394 0.18802 -0.10672 0.19245 -0.10972 C 0.19518 -0.11181 0.19805 -0.11343 0.20078 -0.11574 C 0.20391 -0.11852 0.2138 -0.12824 0.21823 -0.12917 C 0.23372 -0.13172 0.24935 -0.13195 0.26497 -0.13357 C 0.2668 -0.13542 0.26862 -0.13797 0.2707 -0.13935 C 0.275 -0.14259 0.2849 -0.14861 0.29075 -0.15139 C 0.29206 -0.15185 0.29336 -0.15232 0.29492 -0.15278 C 0.29831 -0.15579 0.3026 -0.16042 0.30651 -0.16158 C 0.31237 -0.16366 0.32409 -0.16621 0.32409 -0.16597 C 0.32656 -0.16759 0.33242 -0.1713 0.3349 -0.17199 C 0.33737 -0.17292 0.33997 -0.17292 0.34245 -0.17361 C 0.34518 -0.17431 0.34792 -0.1757 0.35078 -0.17639 C 0.36276 -0.18033 0.35729 -0.17732 0.36328 -0.18102 C 0.36458 -0.18287 0.36588 -0.18519 0.36745 -0.18681 C 0.3681 -0.18773 0.36914 -0.1875 0.36992 -0.18843 C 0.37083 -0.18959 0.37148 -0.19144 0.3724 -0.19283 C 0.37474 -0.1963 0.37812 -0.19861 0.38073 -0.20023 C 0.38177 -0.20093 0.38294 -0.20116 0.38411 -0.20162 C 0.39193 -0.20556 0.3793 -0.20023 0.39075 -0.20463 C 0.3918 -0.20509 0.39414 -0.20602 0.39414 -0.20579 " pathEditMode="relative" rAng="0" ptsTypes="AAAAAAAAAAAAAAAAAAAAAAAAAAAAAAAA">
                                      <p:cBhvr>
                                        <p:cTn id="1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64183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Shepherding</a:t>
            </a:r>
            <a:r>
              <a:rPr lang="de-DE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97307" y="314960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199" y="3563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9535" y="323598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01919" y="369316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2535" y="360680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84250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8802319" y="195363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Ziel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62895" y="4198560"/>
            <a:ext cx="914400" cy="91440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26454D39-C1C1-6250-6280-E5A0170E6F9A}"/>
              </a:ext>
            </a:extLst>
          </p:cNvPr>
          <p:cNvSpPr txBox="1"/>
          <p:nvPr/>
        </p:nvSpPr>
        <p:spPr>
          <a:xfrm>
            <a:off x="1777307" y="2105776"/>
            <a:ext cx="512118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0" i="1" dirty="0">
                <a:solidFill>
                  <a:srgbClr val="040C28"/>
                </a:solidFill>
                <a:effectLst/>
                <a:latin typeface="Google Sans"/>
              </a:rPr>
              <a:t>“The problem of guiding a flock of several autonomous agents using repulsion force exerted by a smaller number of agents.</a:t>
            </a:r>
            <a:endParaRPr lang="de-DE" sz="2800" i="1" dirty="0"/>
          </a:p>
        </p:txBody>
      </p:sp>
      <p:grpSp>
        <p:nvGrpSpPr>
          <p:cNvPr id="18" name="Group 119">
            <a:extLst>
              <a:ext uri="{FF2B5EF4-FFF2-40B4-BE49-F238E27FC236}">
                <a16:creationId xmlns:a16="http://schemas.microsoft.com/office/drawing/2014/main" id="{3C2E2F28-5F71-1B74-B4C7-8CFC08D3DCA6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19" name="Teardrop 121">
              <a:extLst>
                <a:ext uri="{FF2B5EF4-FFF2-40B4-BE49-F238E27FC236}">
                  <a16:creationId xmlns:a16="http://schemas.microsoft.com/office/drawing/2014/main" id="{23CE6FEF-1AA2-3B89-F2FC-DAAD4E0DF6B7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23">
              <a:extLst>
                <a:ext uri="{FF2B5EF4-FFF2-40B4-BE49-F238E27FC236}">
                  <a16:creationId xmlns:a16="http://schemas.microsoft.com/office/drawing/2014/main" id="{FBC688EF-A571-6511-8B80-10FD4F09B015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Oval 124">
              <a:extLst>
                <a:ext uri="{FF2B5EF4-FFF2-40B4-BE49-F238E27FC236}">
                  <a16:creationId xmlns:a16="http://schemas.microsoft.com/office/drawing/2014/main" id="{EBB52942-46EA-F8C7-208D-4B444C6A2A66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22" name="Grafik 21" descr="Schaf mit einfarbiger Füllung">
            <a:extLst>
              <a:ext uri="{FF2B5EF4-FFF2-40B4-BE49-F238E27FC236}">
                <a16:creationId xmlns:a16="http://schemas.microsoft.com/office/drawing/2014/main" id="{3634F828-34F2-4CF7-3468-9BC7644C543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62BF07F-2987-F7D1-E067-31510F56CD4C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55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07407E-6 L 1.04167E-6 0.00023 C 0.04297 -0.01737 0.08646 -0.03195 0.12917 -0.05186 C 0.15651 -0.06482 0.20612 -0.08912 0.23503 -0.09931 C 0.24492 -0.10278 0.25495 -0.10417 0.26497 -0.10672 C 0.27734 -0.11019 0.28607 -0.11204 0.29753 -0.12014 C 0.32969 -0.14283 0.30989 -0.12987 0.33503 -0.15417 C 0.34206 -0.16112 0.34961 -0.16621 0.35664 -0.17338 C 0.36302 -0.1801 0.36888 -0.1882 0.375 -0.19561 C 0.37591 -0.19676 0.37943 -0.20186 0.38086 -0.20301 C 0.38164 -0.20371 0.38242 -0.20417 0.38333 -0.20463 L 0.39831 -0.21204 C 0.39974 -0.2125 0.40104 -0.2132 0.40247 -0.21343 C 0.40417 -0.21366 0.40586 -0.21343 0.40755 -0.21343 " pathEditMode="relative" rAng="0" ptsTypes="AAAAAAAAAAAAAA">
                                      <p:cBhvr>
                                        <p:cTn id="6" dur="3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78" y="-10671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1.11111E-6 L -1.66667E-6 0.00023 C 0.04297 -0.01736 0.08646 -0.03194 0.12917 -0.05185 C 0.15651 -0.06481 0.20612 -0.08912 0.23503 -0.0993 C 0.24492 -0.10278 0.25495 -0.10417 0.26498 -0.10671 C 0.27735 -0.11018 0.28607 -0.11204 0.29753 -0.12014 C 0.32969 -0.14282 0.3099 -0.12986 0.33503 -0.15417 C 0.34206 -0.16111 0.34961 -0.1662 0.35664 -0.17338 C 0.36302 -0.18009 0.36888 -0.18819 0.375 -0.1956 C 0.37591 -0.19676 0.37943 -0.20185 0.38086 -0.20301 C 0.38164 -0.2037 0.38242 -0.20417 0.38334 -0.20463 L 0.39831 -0.21204 C 0.39974 -0.2125 0.40104 -0.21319 0.40248 -0.21342 C 0.40417 -0.21366 0.40586 -0.21342 0.40755 -0.21342 " pathEditMode="relative" rAng="0" ptsTypes="AAAAAAAAAAAAAA">
                                      <p:cBhvr>
                                        <p:cTn id="8" dur="3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78" y="-1067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4.07407E-6 L -1.25E-6 0.00023 C 0.04297 -0.01737 0.08646 -0.03195 0.12917 -0.05186 C 0.15651 -0.06482 0.20612 -0.08912 0.23503 -0.09931 C 0.24492 -0.10278 0.25495 -0.10417 0.26498 -0.10672 C 0.27735 -0.11019 0.28607 -0.11204 0.29753 -0.12014 C 0.32969 -0.14283 0.3099 -0.12987 0.33503 -0.15417 C 0.34206 -0.16112 0.34961 -0.16621 0.35664 -0.17338 C 0.36302 -0.1801 0.36888 -0.1882 0.375 -0.19561 C 0.37591 -0.19676 0.37943 -0.20186 0.38086 -0.20301 C 0.38164 -0.20371 0.38242 -0.20417 0.38333 -0.20463 L 0.39831 -0.21204 C 0.39974 -0.2125 0.40104 -0.2132 0.40248 -0.21343 C 0.40417 -0.21366 0.40586 -0.21343 0.40755 -0.21343 " pathEditMode="relative" rAng="0" ptsTypes="AAAAAAAAAAAAAA">
                                      <p:cBhvr>
                                        <p:cTn id="10" dur="3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78" y="-1067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2.59259E-6 L -2.08333E-6 0.00023 C 0.04297 -0.01736 0.08646 -0.03194 0.12917 -0.05185 C 0.15651 -0.06481 0.20612 -0.08912 0.23503 -0.0993 C 0.24492 -0.10278 0.25495 -0.10416 0.26498 -0.10671 C 0.27735 -0.11018 0.28607 -0.11203 0.29753 -0.12014 C 0.32969 -0.14282 0.3099 -0.12986 0.33503 -0.15416 C 0.34206 -0.16111 0.34961 -0.1662 0.35664 -0.17338 C 0.36302 -0.18009 0.36888 -0.18819 0.375 -0.1956 C 0.37591 -0.19676 0.37943 -0.20185 0.38086 -0.20301 C 0.38164 -0.2037 0.38242 -0.20416 0.38334 -0.20463 L 0.39831 -0.21203 C 0.39974 -0.2125 0.40104 -0.21319 0.40248 -0.21342 C 0.40417 -0.21365 0.40586 -0.21342 0.40755 -0.21342 " pathEditMode="relative" rAng="0" ptsTypes="AAAAAAAAAAAAAA">
                                      <p:cBhvr>
                                        <p:cTn id="12" dur="3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78" y="-1067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43 0.00093 L 0.00443 0.00116 C 0.01601 -0.00602 0.02786 -0.01203 0.03932 -0.0199 C 0.04375 -0.02291 0.04765 -0.02801 0.05182 -0.03171 C 0.08086 -0.05625 0.06888 -0.04745 0.08932 -0.05833 C 0.09101 -0.05926 0.09271 -0.06065 0.0944 -0.06134 C 0.09622 -0.06203 0.09831 -0.06227 0.10026 -0.06273 C 0.10547 -0.06389 0.11081 -0.06481 0.11601 -0.06574 C 0.12357 -0.0669 0.13555 -0.06805 0.14271 -0.06875 C 0.1845 -0.06666 0.16068 -0.0706 0.17604 -0.06574 C 0.17773 -0.06528 0.17943 -0.06504 0.18099 -0.06435 C 0.18268 -0.06342 0.18437 -0.06227 0.18607 -0.06134 C 0.18932 -0.05671 0.19206 -0.05301 0.19609 -0.04953 C 0.19713 -0.04838 0.19831 -0.04768 0.19935 -0.04653 C 0.20065 -0.0449 0.20143 -0.04213 0.20273 -0.04051 C 0.20338 -0.03958 0.20443 -0.03981 0.20521 -0.03912 C 0.20859 -0.03634 0.21172 -0.03217 0.21523 -0.03009 C 0.21693 -0.02916 0.21862 -0.02847 0.22018 -0.02731 C 0.22187 -0.02592 0.22357 -0.02453 0.22526 -0.02268 C 0.22721 -0.0206 0.22877 -0.0169 0.23099 -0.01528 C 0.23424 -0.01319 0.23776 -0.01389 0.24101 -0.0125 C 0.2444 -0.01088 0.24778 -0.00995 0.25104 -0.00787 C 0.25182 -0.0074 0.25273 -0.00694 0.25351 -0.00648 C 0.25495 -0.00555 0.25625 -0.0044 0.25768 -0.00347 C 0.25911 -0.00278 0.26055 -0.00254 0.26185 -0.00208 C 0.26406 -0.00115 0.26627 -2.59259E-6 0.26849 0.00093 C 0.27226 0.00232 0.27943 0.00324 0.28268 0.00394 C 0.28607 0.00579 0.28932 0.00834 0.29271 0.00972 C 0.29778 0.01204 0.29492 0.01065 0.30104 0.01435 C 0.30521 0.01227 0.3095 0.01111 0.31354 0.00834 C 0.31458 0.00764 0.3151 0.0051 0.31601 0.00394 C 0.31758 0.00209 0.3194 0.00116 0.32109 -0.00046 C 0.32513 -0.00486 0.32357 -0.0044 0.32682 -0.00949 C 0.32903 -0.01273 0.33099 -0.01412 0.33268 -0.01828 C 0.33437 -0.02245 0.33815 -0.03356 0.33932 -0.03912 C 0.3401 -0.04236 0.34049 -0.04606 0.34101 -0.04953 C 0.34127 -0.05926 0.34127 -0.06921 0.34193 -0.07893 C 0.34206 -0.08217 0.3431 -0.08495 0.34349 -0.08796 C 0.34388 -0.09028 0.34414 -0.09282 0.3444 -0.09537 C 0.3457 -0.11088 0.34427 -0.10254 0.34609 -0.11157 C 0.34635 -0.11666 0.34661 -0.12153 0.34687 -0.12639 C 0.34726 -0.13426 0.34726 -0.14236 0.34765 -0.15 C 0.34805 -0.15602 0.3487 -0.16203 0.34935 -0.16782 C 0.35195 -0.19097 0.35 -0.16782 0.35443 -0.19606 C 0.35521 -0.20139 0.35547 -0.20694 0.35599 -0.21227 C 0.35625 -0.21435 0.35638 -0.21643 0.3569 -0.21828 C 0.35755 -0.22129 0.35846 -0.2243 0.35937 -0.22708 C 0.36107 -0.2324 0.36015 -0.23148 0.36276 -0.23148 " pathEditMode="relative" rAng="0" ptsTypes="AAAAAAAAAAAAAAAAAAAAAAAAAAAAAAAAAAAAAAAAAAAAAAAA">
                                      <p:cBhvr>
                                        <p:cTn id="14" dur="4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917" y="-109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4.81481E-6 L 1.875E-6 0.00023 C 0.00416 -0.00047 0.00859 -0.00024 0.01276 -0.00139 C 0.01393 -0.00186 0.01458 -0.00325 0.01549 -0.0044 C 0.01849 -0.00788 0.02122 -0.0125 0.02474 -0.01482 C 0.02773 -0.01667 0.03099 -0.0176 0.03398 -0.01922 C 0.03581 -0.02014 0.03776 -0.0213 0.03958 -0.02223 C 0.04206 -0.02338 0.04453 -0.02408 0.04687 -0.02524 C 0.04883 -0.02593 0.05052 -0.02732 0.05234 -0.02801 C 0.05456 -0.02917 0.0569 -0.02987 0.05885 -0.03102 C 0.06081 -0.03218 0.0625 -0.03473 0.06432 -0.03542 C 0.0668 -0.03658 0.0694 -0.03635 0.07187 -0.03704 C 0.07565 -0.0382 0.07903 -0.04051 0.08281 -0.04144 C 0.08984 -0.04306 0.09713 -0.04237 0.10416 -0.04445 L 0.11419 -0.04746 C 0.11888 -0.04885 0.12344 -0.0507 0.12812 -0.05186 C 0.13164 -0.05278 0.13541 -0.05278 0.13919 -0.05325 C 0.14661 -0.05741 0.15443 -0.06065 0.16224 -0.06366 C 0.16497 -0.06482 0.16771 -0.06575 0.17044 -0.06667 C 0.17291 -0.06737 0.17552 -0.0676 0.17799 -0.06806 C 0.20377 -0.08056 0.19153 -0.07616 0.24336 -0.07408 C 0.26133 -0.07338 0.27903 -0.07014 0.29687 -0.06806 C 0.30091 -0.06505 0.30495 -0.0625 0.30885 -0.05926 C 0.31081 -0.05764 0.3125 -0.05463 0.31445 -0.05325 C 0.31732 -0.05116 0.3207 -0.0507 0.3237 -0.04885 C 0.32708 -0.04676 0.33034 -0.04375 0.33372 -0.04144 C 0.34505 -0.03403 0.35039 -0.0338 0.36237 -0.02223 C 0.37956 -0.00556 0.35351 -0.03125 0.37148 -0.01181 C 0.37552 -0.00764 0.37956 -0.00394 0.38359 4.81481E-6 C 0.38502 0.00162 0.38685 0.00277 0.38828 0.00439 C 0.38893 0.00555 0.39336 0.01087 0.39466 0.0118 C 0.39622 0.01296 0.39791 0.01342 0.39922 0.01481 C 0.40195 0.01736 0.40364 0.02245 0.40664 0.02384 C 0.41432 0.02685 0.40586 0.02291 0.41588 0.02962 C 0.41771 0.03078 0.41966 0.03148 0.42135 0.03263 C 0.42838 0.03726 0.42526 0.03703 0.43255 0.04004 C 0.43424 0.04074 0.4362 0.04074 0.43802 0.04143 C 0.44609 0.04467 0.44127 0.04467 0.45 0.04745 C 0.45403 0.04861 0.45807 0.04953 0.46211 0.05046 C 0.46719 0.05162 0.47552 0.05254 0.48047 0.05347 C 0.48789 0.05277 0.49518 0.05324 0.5026 0.05185 C 0.50403 0.05162 0.50495 0.04953 0.50625 0.04884 C 0.50937 0.04745 0.51263 0.04791 0.51549 0.04606 C 0.51693 0.0449 0.51862 0.04351 0.52018 0.04305 C 0.52539 0.0412 0.53073 0.0405 0.53581 0.03865 C 0.53698 0.03796 0.53828 0.03773 0.53945 0.03703 C 0.54075 0.03634 0.54193 0.03518 0.54323 0.03402 C 0.55065 0.01597 0.54336 0.03449 0.54974 0.01643 C 0.55013 0.01481 0.55104 0.01342 0.55143 0.0118 C 0.55338 0.00462 0.55312 0.00277 0.5543 -0.0044 C 0.55469 -0.00834 0.55547 -0.01227 0.55599 -0.01621 C 0.55638 -0.01783 0.55677 -0.01922 0.55703 -0.02061 C 0.55781 -0.02616 0.5582 -0.03149 0.55898 -0.03704 C 0.5582 -0.08588 0.55794 -0.13473 0.55703 -0.18357 C 0.55495 -0.28704 0.55521 -0.18843 0.55521 -0.23542 " pathEditMode="relative" rAng="0" ptsTypes="AAAAAAAAAAAAAAAAAAAAAAAAAAAAAAAAAAAAAAAAAAAAAAAAAAAAAAA">
                                      <p:cBhvr>
                                        <p:cTn id="16" dur="4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943" y="-909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br>
              <a:rPr lang="de-DE" dirty="0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3789814"/>
            <a:ext cx="2160000" cy="3742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147251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9" name="Hexagon 60">
            <a:extLst>
              <a:ext uri="{FF2B5EF4-FFF2-40B4-BE49-F238E27FC236}">
                <a16:creationId xmlns:a16="http://schemas.microsoft.com/office/drawing/2014/main" id="{24AA19EE-F311-8969-97B3-81D46694810D}"/>
              </a:ext>
            </a:extLst>
          </p:cNvPr>
          <p:cNvSpPr/>
          <p:nvPr/>
        </p:nvSpPr>
        <p:spPr bwMode="gray">
          <a:xfrm>
            <a:off x="5958995" y="2199022"/>
            <a:ext cx="2133285" cy="1839039"/>
          </a:xfrm>
          <a:prstGeom prst="hexagon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3" name="Rectangle 64">
            <a:extLst>
              <a:ext uri="{FF2B5EF4-FFF2-40B4-BE49-F238E27FC236}">
                <a16:creationId xmlns:a16="http://schemas.microsoft.com/office/drawing/2014/main" id="{8FBC690C-FE8E-4EAB-34D8-6A44A3B72C60}"/>
              </a:ext>
            </a:extLst>
          </p:cNvPr>
          <p:cNvSpPr/>
          <p:nvPr/>
        </p:nvSpPr>
        <p:spPr>
          <a:xfrm>
            <a:off x="7951157" y="2632444"/>
            <a:ext cx="1668149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Shepheard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 / Dog</a:t>
            </a:r>
          </a:p>
        </p:txBody>
      </p:sp>
      <p:sp>
        <p:nvSpPr>
          <p:cNvPr id="84" name="Rectangle 65">
            <a:extLst>
              <a:ext uri="{FF2B5EF4-FFF2-40B4-BE49-F238E27FC236}">
                <a16:creationId xmlns:a16="http://schemas.microsoft.com/office/drawing/2014/main" id="{0D6392DE-49B7-1447-3703-CC33D3C6404C}"/>
              </a:ext>
            </a:extLst>
          </p:cNvPr>
          <p:cNvSpPr/>
          <p:nvPr/>
        </p:nvSpPr>
        <p:spPr>
          <a:xfrm>
            <a:off x="7951157" y="2925306"/>
            <a:ext cx="29518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prstClr val="black"/>
                </a:solidFill>
              </a:rPr>
              <a:t>Movement </a:t>
            </a:r>
            <a:r>
              <a:rPr lang="de-DE" sz="1400" dirty="0" err="1">
                <a:solidFill>
                  <a:prstClr val="black"/>
                </a:solidFill>
              </a:rPr>
              <a:t>based</a:t>
            </a:r>
            <a:r>
              <a:rPr lang="de-DE" sz="1400" dirty="0">
                <a:solidFill>
                  <a:prstClr val="black"/>
                </a:solidFill>
              </a:rPr>
              <a:t> on </a:t>
            </a:r>
            <a:r>
              <a:rPr lang="de-DE" sz="1400" dirty="0" err="1">
                <a:solidFill>
                  <a:prstClr val="black"/>
                </a:solidFill>
              </a:rPr>
              <a:t>Objective</a:t>
            </a:r>
            <a:r>
              <a:rPr lang="de-DE" sz="1400" dirty="0">
                <a:solidFill>
                  <a:prstClr val="black"/>
                </a:solidFill>
              </a:rPr>
              <a:t> </a:t>
            </a:r>
            <a:r>
              <a:rPr lang="de-DE" sz="1400" dirty="0" err="1">
                <a:solidFill>
                  <a:prstClr val="black"/>
                </a:solidFill>
              </a:rPr>
              <a:t>Function</a:t>
            </a:r>
            <a:endParaRPr lang="de-DE" sz="14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itial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n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n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Shepherd</a:t>
            </a:r>
          </a:p>
        </p:txBody>
      </p:sp>
      <p:sp>
        <p:nvSpPr>
          <p:cNvPr id="67" name="Hexagon 74">
            <a:extLst>
              <a:ext uri="{FF2B5EF4-FFF2-40B4-BE49-F238E27FC236}">
                <a16:creationId xmlns:a16="http://schemas.microsoft.com/office/drawing/2014/main" id="{E2F8176D-B747-452F-D065-45513620ED20}"/>
              </a:ext>
            </a:extLst>
          </p:cNvPr>
          <p:cNvSpPr/>
          <p:nvPr/>
        </p:nvSpPr>
        <p:spPr bwMode="gray">
          <a:xfrm>
            <a:off x="4029738" y="3325424"/>
            <a:ext cx="2133285" cy="1839039"/>
          </a:xfrm>
          <a:prstGeom prst="hexagon">
            <a:avLst/>
          </a:prstGeom>
          <a:solidFill>
            <a:srgbClr val="0D839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9" name="Pentagon 34">
            <a:extLst>
              <a:ext uri="{FF2B5EF4-FFF2-40B4-BE49-F238E27FC236}">
                <a16:creationId xmlns:a16="http://schemas.microsoft.com/office/drawing/2014/main" id="{2E13B419-D8EF-AEF4-BB3F-FCF8F77E0956}"/>
              </a:ext>
            </a:extLst>
          </p:cNvPr>
          <p:cNvSpPr/>
          <p:nvPr/>
        </p:nvSpPr>
        <p:spPr bwMode="gray">
          <a:xfrm>
            <a:off x="597673" y="3606124"/>
            <a:ext cx="525735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3699505"/>
            <a:ext cx="2196820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>
                <a:solidFill>
                  <a:srgbClr val="0D8390"/>
                </a:solidFill>
              </a:rPr>
              <a:t>Agents</a:t>
            </a:r>
            <a:r>
              <a:rPr lang="de-DE" sz="1600" b="1" dirty="0">
                <a:solidFill>
                  <a:srgbClr val="0D8390"/>
                </a:solidFill>
              </a:rPr>
              <a:t> / </a:t>
            </a:r>
            <a:r>
              <a:rPr lang="de-DE" sz="1600" b="1" dirty="0" err="1">
                <a:solidFill>
                  <a:srgbClr val="0D8390"/>
                </a:solidFill>
              </a:rPr>
              <a:t>Sheeps</a:t>
            </a:r>
            <a:r>
              <a:rPr lang="de-DE" sz="1600" b="1" dirty="0">
                <a:solidFill>
                  <a:srgbClr val="0D8390"/>
                </a:solidFill>
              </a:rPr>
              <a:t> / Herd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Rectangle 79">
            <a:extLst>
              <a:ext uri="{FF2B5EF4-FFF2-40B4-BE49-F238E27FC236}">
                <a16:creationId xmlns:a16="http://schemas.microsoft.com/office/drawing/2014/main" id="{B5652194-27C9-1428-3825-7C33B4BFD22D}"/>
              </a:ext>
            </a:extLst>
          </p:cNvPr>
          <p:cNvSpPr/>
          <p:nvPr/>
        </p:nvSpPr>
        <p:spPr>
          <a:xfrm>
            <a:off x="881443" y="3977552"/>
            <a:ext cx="295180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e-DE" sz="1400" dirty="0" err="1"/>
              <a:t>Consist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N </a:t>
            </a:r>
            <a:r>
              <a:rPr lang="de-DE" sz="1400" dirty="0" err="1"/>
              <a:t>Agents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e-DE" sz="1400" dirty="0"/>
              <a:t>Move in a </a:t>
            </a:r>
            <a:r>
              <a:rPr lang="de-DE" sz="1400" dirty="0" err="1"/>
              <a:t>two</a:t>
            </a:r>
            <a:r>
              <a:rPr lang="de-DE" sz="1400" dirty="0"/>
              <a:t> dimensional Fiel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/>
              <a:t>Movement </a:t>
            </a:r>
            <a:r>
              <a:rPr lang="de-DE" sz="1400" dirty="0" err="1"/>
              <a:t>based</a:t>
            </a:r>
            <a:r>
              <a:rPr lang="de-DE" sz="1400" dirty="0"/>
              <a:t> on Reynolds’ </a:t>
            </a:r>
            <a:r>
              <a:rPr lang="de-DE" sz="1400" dirty="0" err="1"/>
              <a:t>Boids</a:t>
            </a:r>
            <a:r>
              <a:rPr lang="de-DE" sz="1400" dirty="0"/>
              <a:t> Model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9B3CFD9B-7095-43F8-4FE5-2D6DBF676374}"/>
              </a:ext>
            </a:extLst>
          </p:cNvPr>
          <p:cNvSpPr/>
          <p:nvPr/>
        </p:nvSpPr>
        <p:spPr>
          <a:xfrm>
            <a:off x="6607066" y="2861365"/>
            <a:ext cx="837670" cy="514970"/>
          </a:xfrm>
          <a:custGeom>
            <a:avLst/>
            <a:gdLst>
              <a:gd name="connsiteX0" fmla="*/ 778616 w 837670"/>
              <a:gd name="connsiteY0" fmla="*/ 59055 h 514970"/>
              <a:gd name="connsiteX1" fmla="*/ 704321 w 837670"/>
              <a:gd name="connsiteY1" fmla="*/ 0 h 514970"/>
              <a:gd name="connsiteX2" fmla="*/ 651933 w 837670"/>
              <a:gd name="connsiteY2" fmla="*/ 0 h 514970"/>
              <a:gd name="connsiteX3" fmla="*/ 641456 w 837670"/>
              <a:gd name="connsiteY3" fmla="*/ 60960 h 514970"/>
              <a:gd name="connsiteX4" fmla="*/ 643361 w 837670"/>
              <a:gd name="connsiteY4" fmla="*/ 79057 h 514970"/>
              <a:gd name="connsiteX5" fmla="*/ 664316 w 837670"/>
              <a:gd name="connsiteY5" fmla="*/ 95250 h 514970"/>
              <a:gd name="connsiteX6" fmla="*/ 690033 w 837670"/>
              <a:gd name="connsiteY6" fmla="*/ 86678 h 514970"/>
              <a:gd name="connsiteX7" fmla="*/ 697653 w 837670"/>
              <a:gd name="connsiteY7" fmla="*/ 70485 h 514970"/>
              <a:gd name="connsiteX8" fmla="*/ 704321 w 837670"/>
              <a:gd name="connsiteY8" fmla="*/ 34290 h 514970"/>
              <a:gd name="connsiteX9" fmla="*/ 715751 w 837670"/>
              <a:gd name="connsiteY9" fmla="*/ 26670 h 514970"/>
              <a:gd name="connsiteX10" fmla="*/ 723371 w 837670"/>
              <a:gd name="connsiteY10" fmla="*/ 38100 h 514970"/>
              <a:gd name="connsiteX11" fmla="*/ 717656 w 837670"/>
              <a:gd name="connsiteY11" fmla="*/ 73343 h 514970"/>
              <a:gd name="connsiteX12" fmla="*/ 696701 w 837670"/>
              <a:gd name="connsiteY12" fmla="*/ 106680 h 514970"/>
              <a:gd name="connsiteX13" fmla="*/ 670031 w 837670"/>
              <a:gd name="connsiteY13" fmla="*/ 114300 h 514970"/>
              <a:gd name="connsiteX14" fmla="*/ 661458 w 837670"/>
              <a:gd name="connsiteY14" fmla="*/ 113348 h 514970"/>
              <a:gd name="connsiteX15" fmla="*/ 628121 w 837670"/>
              <a:gd name="connsiteY15" fmla="*/ 90488 h 514970"/>
              <a:gd name="connsiteX16" fmla="*/ 622406 w 837670"/>
              <a:gd name="connsiteY16" fmla="*/ 57150 h 514970"/>
              <a:gd name="connsiteX17" fmla="*/ 630978 w 837670"/>
              <a:gd name="connsiteY17" fmla="*/ 6668 h 514970"/>
              <a:gd name="connsiteX18" fmla="*/ 564303 w 837670"/>
              <a:gd name="connsiteY18" fmla="*/ 80010 h 514970"/>
              <a:gd name="connsiteX19" fmla="*/ 509058 w 837670"/>
              <a:gd name="connsiteY19" fmla="*/ 104775 h 514970"/>
              <a:gd name="connsiteX20" fmla="*/ 237596 w 837670"/>
              <a:gd name="connsiteY20" fmla="*/ 104775 h 514970"/>
              <a:gd name="connsiteX21" fmla="*/ 172826 w 837670"/>
              <a:gd name="connsiteY21" fmla="*/ 130493 h 514970"/>
              <a:gd name="connsiteX22" fmla="*/ 53763 w 837670"/>
              <a:gd name="connsiteY22" fmla="*/ 53340 h 514970"/>
              <a:gd name="connsiteX23" fmla="*/ 15663 w 837670"/>
              <a:gd name="connsiteY23" fmla="*/ 40957 h 514970"/>
              <a:gd name="connsiteX24" fmla="*/ 4233 w 837670"/>
              <a:gd name="connsiteY24" fmla="*/ 80963 h 514970"/>
              <a:gd name="connsiteX25" fmla="*/ 145203 w 837670"/>
              <a:gd name="connsiteY25" fmla="*/ 182880 h 514970"/>
              <a:gd name="connsiteX26" fmla="*/ 142346 w 837670"/>
              <a:gd name="connsiteY26" fmla="*/ 200025 h 514970"/>
              <a:gd name="connsiteX27" fmla="*/ 142346 w 837670"/>
              <a:gd name="connsiteY27" fmla="*/ 484823 h 514970"/>
              <a:gd name="connsiteX28" fmla="*/ 165206 w 837670"/>
              <a:gd name="connsiteY28" fmla="*/ 514350 h 514970"/>
              <a:gd name="connsiteX29" fmla="*/ 199496 w 837670"/>
              <a:gd name="connsiteY29" fmla="*/ 486728 h 514970"/>
              <a:gd name="connsiteX30" fmla="*/ 199496 w 837670"/>
              <a:gd name="connsiteY30" fmla="*/ 304800 h 514970"/>
              <a:gd name="connsiteX31" fmla="*/ 329036 w 837670"/>
              <a:gd name="connsiteY31" fmla="*/ 304800 h 514970"/>
              <a:gd name="connsiteX32" fmla="*/ 428096 w 837670"/>
              <a:gd name="connsiteY32" fmla="*/ 333375 h 514970"/>
              <a:gd name="connsiteX33" fmla="*/ 466196 w 837670"/>
              <a:gd name="connsiteY33" fmla="*/ 333375 h 514970"/>
              <a:gd name="connsiteX34" fmla="*/ 466196 w 837670"/>
              <a:gd name="connsiteY34" fmla="*/ 483870 h 514970"/>
              <a:gd name="connsiteX35" fmla="*/ 492866 w 837670"/>
              <a:gd name="connsiteY35" fmla="*/ 514350 h 514970"/>
              <a:gd name="connsiteX36" fmla="*/ 523346 w 837670"/>
              <a:gd name="connsiteY36" fmla="*/ 485775 h 514970"/>
              <a:gd name="connsiteX37" fmla="*/ 523346 w 837670"/>
              <a:gd name="connsiteY37" fmla="*/ 333375 h 514970"/>
              <a:gd name="connsiteX38" fmla="*/ 561446 w 837670"/>
              <a:gd name="connsiteY38" fmla="*/ 333375 h 514970"/>
              <a:gd name="connsiteX39" fmla="*/ 561446 w 837670"/>
              <a:gd name="connsiteY39" fmla="*/ 484823 h 514970"/>
              <a:gd name="connsiteX40" fmla="*/ 584306 w 837670"/>
              <a:gd name="connsiteY40" fmla="*/ 514350 h 514970"/>
              <a:gd name="connsiteX41" fmla="*/ 618596 w 837670"/>
              <a:gd name="connsiteY41" fmla="*/ 486728 h 514970"/>
              <a:gd name="connsiteX42" fmla="*/ 618596 w 837670"/>
              <a:gd name="connsiteY42" fmla="*/ 309563 h 514970"/>
              <a:gd name="connsiteX43" fmla="*/ 656696 w 837670"/>
              <a:gd name="connsiteY43" fmla="*/ 238125 h 514970"/>
              <a:gd name="connsiteX44" fmla="*/ 694796 w 837670"/>
              <a:gd name="connsiteY44" fmla="*/ 142875 h 514970"/>
              <a:gd name="connsiteX45" fmla="*/ 780521 w 837670"/>
              <a:gd name="connsiteY45" fmla="*/ 142875 h 514970"/>
              <a:gd name="connsiteX46" fmla="*/ 837671 w 837670"/>
              <a:gd name="connsiteY46" fmla="*/ 85725 h 514970"/>
              <a:gd name="connsiteX47" fmla="*/ 778616 w 837670"/>
              <a:gd name="connsiteY47" fmla="*/ 59055 h 51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37670" h="514970">
                <a:moveTo>
                  <a:pt x="778616" y="59055"/>
                </a:moveTo>
                <a:cubicBezTo>
                  <a:pt x="770996" y="25718"/>
                  <a:pt x="740516" y="0"/>
                  <a:pt x="704321" y="0"/>
                </a:cubicBezTo>
                <a:lnTo>
                  <a:pt x="651933" y="0"/>
                </a:lnTo>
                <a:lnTo>
                  <a:pt x="641456" y="60960"/>
                </a:lnTo>
                <a:cubicBezTo>
                  <a:pt x="640503" y="66675"/>
                  <a:pt x="640503" y="73343"/>
                  <a:pt x="643361" y="79057"/>
                </a:cubicBezTo>
                <a:cubicBezTo>
                  <a:pt x="647171" y="87630"/>
                  <a:pt x="655743" y="93345"/>
                  <a:pt x="664316" y="95250"/>
                </a:cubicBezTo>
                <a:cubicBezTo>
                  <a:pt x="673841" y="97155"/>
                  <a:pt x="683366" y="94298"/>
                  <a:pt x="690033" y="86678"/>
                </a:cubicBezTo>
                <a:cubicBezTo>
                  <a:pt x="693843" y="81915"/>
                  <a:pt x="696701" y="76200"/>
                  <a:pt x="697653" y="70485"/>
                </a:cubicBezTo>
                <a:lnTo>
                  <a:pt x="704321" y="34290"/>
                </a:lnTo>
                <a:cubicBezTo>
                  <a:pt x="705273" y="29528"/>
                  <a:pt x="710036" y="25718"/>
                  <a:pt x="715751" y="26670"/>
                </a:cubicBezTo>
                <a:cubicBezTo>
                  <a:pt x="720513" y="27622"/>
                  <a:pt x="724323" y="32385"/>
                  <a:pt x="723371" y="38100"/>
                </a:cubicBezTo>
                <a:lnTo>
                  <a:pt x="717656" y="73343"/>
                </a:lnTo>
                <a:cubicBezTo>
                  <a:pt x="715751" y="86678"/>
                  <a:pt x="708131" y="99060"/>
                  <a:pt x="696701" y="106680"/>
                </a:cubicBezTo>
                <a:cubicBezTo>
                  <a:pt x="689081" y="112395"/>
                  <a:pt x="679556" y="114300"/>
                  <a:pt x="670031" y="114300"/>
                </a:cubicBezTo>
                <a:cubicBezTo>
                  <a:pt x="667173" y="114300"/>
                  <a:pt x="664316" y="114300"/>
                  <a:pt x="661458" y="113348"/>
                </a:cubicBezTo>
                <a:cubicBezTo>
                  <a:pt x="647171" y="110490"/>
                  <a:pt x="635741" y="102870"/>
                  <a:pt x="628121" y="90488"/>
                </a:cubicBezTo>
                <a:cubicBezTo>
                  <a:pt x="622406" y="80010"/>
                  <a:pt x="620501" y="68580"/>
                  <a:pt x="622406" y="57150"/>
                </a:cubicBezTo>
                <a:lnTo>
                  <a:pt x="630978" y="6668"/>
                </a:lnTo>
                <a:lnTo>
                  <a:pt x="564303" y="80010"/>
                </a:lnTo>
                <a:cubicBezTo>
                  <a:pt x="550968" y="95250"/>
                  <a:pt x="530013" y="104775"/>
                  <a:pt x="509058" y="104775"/>
                </a:cubicBezTo>
                <a:lnTo>
                  <a:pt x="237596" y="104775"/>
                </a:lnTo>
                <a:cubicBezTo>
                  <a:pt x="212831" y="104775"/>
                  <a:pt x="189971" y="114300"/>
                  <a:pt x="172826" y="130493"/>
                </a:cubicBezTo>
                <a:cubicBezTo>
                  <a:pt x="140441" y="124777"/>
                  <a:pt x="86148" y="107632"/>
                  <a:pt x="53763" y="53340"/>
                </a:cubicBezTo>
                <a:cubicBezTo>
                  <a:pt x="46143" y="40005"/>
                  <a:pt x="28998" y="34290"/>
                  <a:pt x="15663" y="40957"/>
                </a:cubicBezTo>
                <a:cubicBezTo>
                  <a:pt x="423" y="48578"/>
                  <a:pt x="-4339" y="66675"/>
                  <a:pt x="4233" y="80963"/>
                </a:cubicBezTo>
                <a:cubicBezTo>
                  <a:pt x="42333" y="145733"/>
                  <a:pt x="101388" y="171450"/>
                  <a:pt x="145203" y="182880"/>
                </a:cubicBezTo>
                <a:cubicBezTo>
                  <a:pt x="143298" y="188595"/>
                  <a:pt x="142346" y="194310"/>
                  <a:pt x="142346" y="200025"/>
                </a:cubicBezTo>
                <a:lnTo>
                  <a:pt x="142346" y="484823"/>
                </a:lnTo>
                <a:cubicBezTo>
                  <a:pt x="142346" y="499110"/>
                  <a:pt x="151871" y="511492"/>
                  <a:pt x="165206" y="514350"/>
                </a:cubicBezTo>
                <a:cubicBezTo>
                  <a:pt x="183303" y="518160"/>
                  <a:pt x="199496" y="503873"/>
                  <a:pt x="199496" y="486728"/>
                </a:cubicBezTo>
                <a:lnTo>
                  <a:pt x="199496" y="304800"/>
                </a:lnTo>
                <a:lnTo>
                  <a:pt x="329036" y="304800"/>
                </a:lnTo>
                <a:cubicBezTo>
                  <a:pt x="349038" y="321945"/>
                  <a:pt x="385233" y="333375"/>
                  <a:pt x="428096" y="333375"/>
                </a:cubicBezTo>
                <a:cubicBezTo>
                  <a:pt x="428096" y="333375"/>
                  <a:pt x="444288" y="333375"/>
                  <a:pt x="466196" y="333375"/>
                </a:cubicBezTo>
                <a:lnTo>
                  <a:pt x="466196" y="483870"/>
                </a:lnTo>
                <a:cubicBezTo>
                  <a:pt x="466196" y="499110"/>
                  <a:pt x="477626" y="513398"/>
                  <a:pt x="492866" y="514350"/>
                </a:cubicBezTo>
                <a:cubicBezTo>
                  <a:pt x="509058" y="515303"/>
                  <a:pt x="523346" y="501967"/>
                  <a:pt x="523346" y="485775"/>
                </a:cubicBezTo>
                <a:lnTo>
                  <a:pt x="523346" y="333375"/>
                </a:lnTo>
                <a:lnTo>
                  <a:pt x="561446" y="333375"/>
                </a:lnTo>
                <a:lnTo>
                  <a:pt x="561446" y="484823"/>
                </a:lnTo>
                <a:cubicBezTo>
                  <a:pt x="561446" y="499110"/>
                  <a:pt x="570971" y="511492"/>
                  <a:pt x="584306" y="514350"/>
                </a:cubicBezTo>
                <a:cubicBezTo>
                  <a:pt x="602403" y="518160"/>
                  <a:pt x="618596" y="503873"/>
                  <a:pt x="618596" y="486728"/>
                </a:cubicBezTo>
                <a:lnTo>
                  <a:pt x="618596" y="309563"/>
                </a:lnTo>
                <a:cubicBezTo>
                  <a:pt x="641456" y="280988"/>
                  <a:pt x="656696" y="238125"/>
                  <a:pt x="656696" y="238125"/>
                </a:cubicBezTo>
                <a:lnTo>
                  <a:pt x="694796" y="142875"/>
                </a:lnTo>
                <a:lnTo>
                  <a:pt x="780521" y="142875"/>
                </a:lnTo>
                <a:cubicBezTo>
                  <a:pt x="811953" y="142875"/>
                  <a:pt x="837671" y="117157"/>
                  <a:pt x="837671" y="85725"/>
                </a:cubicBezTo>
                <a:lnTo>
                  <a:pt x="778616" y="59055"/>
                </a:lnTo>
                <a:close/>
              </a:path>
            </a:pathLst>
          </a:custGeom>
          <a:solidFill>
            <a:srgbClr val="046A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5" name="Freihandform: Form 114">
            <a:extLst>
              <a:ext uri="{FF2B5EF4-FFF2-40B4-BE49-F238E27FC236}">
                <a16:creationId xmlns:a16="http://schemas.microsoft.com/office/drawing/2014/main" id="{DED4C6C1-34B4-6EB4-4AC9-75DDF05883B4}"/>
              </a:ext>
            </a:extLst>
          </p:cNvPr>
          <p:cNvSpPr/>
          <p:nvPr/>
        </p:nvSpPr>
        <p:spPr>
          <a:xfrm>
            <a:off x="6844662" y="3175690"/>
            <a:ext cx="57150" cy="190500"/>
          </a:xfrm>
          <a:custGeom>
            <a:avLst/>
            <a:gdLst>
              <a:gd name="connsiteX0" fmla="*/ 0 w 57150"/>
              <a:gd name="connsiteY0" fmla="*/ 161925 h 190500"/>
              <a:gd name="connsiteX1" fmla="*/ 28575 w 57150"/>
              <a:gd name="connsiteY1" fmla="*/ 190500 h 190500"/>
              <a:gd name="connsiteX2" fmla="*/ 57150 w 57150"/>
              <a:gd name="connsiteY2" fmla="*/ 161925 h 190500"/>
              <a:gd name="connsiteX3" fmla="*/ 57150 w 57150"/>
              <a:gd name="connsiteY3" fmla="*/ 0 h 190500"/>
              <a:gd name="connsiteX4" fmla="*/ 0 w 57150"/>
              <a:gd name="connsiteY4" fmla="*/ 0 h 190500"/>
              <a:gd name="connsiteX5" fmla="*/ 0 w 57150"/>
              <a:gd name="connsiteY5" fmla="*/ 161925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50" h="190500">
                <a:moveTo>
                  <a:pt x="0" y="161925"/>
                </a:moveTo>
                <a:cubicBezTo>
                  <a:pt x="0" y="178117"/>
                  <a:pt x="12382" y="190500"/>
                  <a:pt x="28575" y="190500"/>
                </a:cubicBezTo>
                <a:cubicBezTo>
                  <a:pt x="44768" y="190500"/>
                  <a:pt x="57150" y="178117"/>
                  <a:pt x="57150" y="161925"/>
                </a:cubicBezTo>
                <a:lnTo>
                  <a:pt x="57150" y="0"/>
                </a:lnTo>
                <a:lnTo>
                  <a:pt x="0" y="0"/>
                </a:lnTo>
                <a:lnTo>
                  <a:pt x="0" y="161925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5" name="Freihandform: Form 104">
            <a:extLst>
              <a:ext uri="{FF2B5EF4-FFF2-40B4-BE49-F238E27FC236}">
                <a16:creationId xmlns:a16="http://schemas.microsoft.com/office/drawing/2014/main" id="{56CA8B65-B543-1ED9-5F4A-18DF99509B57}"/>
              </a:ext>
            </a:extLst>
          </p:cNvPr>
          <p:cNvSpPr/>
          <p:nvPr/>
        </p:nvSpPr>
        <p:spPr>
          <a:xfrm>
            <a:off x="4648803" y="3918629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6" name="Freihandform: Form 105">
            <a:extLst>
              <a:ext uri="{FF2B5EF4-FFF2-40B4-BE49-F238E27FC236}">
                <a16:creationId xmlns:a16="http://schemas.microsoft.com/office/drawing/2014/main" id="{01B4D5F9-7BFF-A84D-3D38-E88685DF67B2}"/>
              </a:ext>
            </a:extLst>
          </p:cNvPr>
          <p:cNvSpPr/>
          <p:nvPr/>
        </p:nvSpPr>
        <p:spPr>
          <a:xfrm>
            <a:off x="4804135" y="4272254"/>
            <a:ext cx="51750" cy="129375"/>
          </a:xfrm>
          <a:custGeom>
            <a:avLst/>
            <a:gdLst>
              <a:gd name="connsiteX0" fmla="*/ 0 w 51750"/>
              <a:gd name="connsiteY0" fmla="*/ 103500 h 129375"/>
              <a:gd name="connsiteX1" fmla="*/ 25875 w 51750"/>
              <a:gd name="connsiteY1" fmla="*/ 129375 h 129375"/>
              <a:gd name="connsiteX2" fmla="*/ 51750 w 51750"/>
              <a:gd name="connsiteY2" fmla="*/ 103500 h 129375"/>
              <a:gd name="connsiteX3" fmla="*/ 51750 w 51750"/>
              <a:gd name="connsiteY3" fmla="*/ 4313 h 129375"/>
              <a:gd name="connsiteX4" fmla="*/ 0 w 51750"/>
              <a:gd name="connsiteY4" fmla="*/ 0 h 129375"/>
              <a:gd name="connsiteX5" fmla="*/ 0 w 51750"/>
              <a:gd name="connsiteY5" fmla="*/ 103500 h 12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29375">
                <a:moveTo>
                  <a:pt x="0" y="103500"/>
                </a:moveTo>
                <a:cubicBezTo>
                  <a:pt x="0" y="118162"/>
                  <a:pt x="11212" y="129375"/>
                  <a:pt x="25875" y="129375"/>
                </a:cubicBezTo>
                <a:cubicBezTo>
                  <a:pt x="40538" y="129375"/>
                  <a:pt x="51750" y="118162"/>
                  <a:pt x="51750" y="103500"/>
                </a:cubicBezTo>
                <a:lnTo>
                  <a:pt x="51750" y="4313"/>
                </a:lnTo>
                <a:lnTo>
                  <a:pt x="0" y="0"/>
                </a:lnTo>
                <a:lnTo>
                  <a:pt x="0" y="103500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7" name="Freihandform: Form 106">
            <a:extLst>
              <a:ext uri="{FF2B5EF4-FFF2-40B4-BE49-F238E27FC236}">
                <a16:creationId xmlns:a16="http://schemas.microsoft.com/office/drawing/2014/main" id="{F07CD663-708F-8BF0-A46D-F1B88575F5AD}"/>
              </a:ext>
            </a:extLst>
          </p:cNvPr>
          <p:cNvSpPr/>
          <p:nvPr/>
        </p:nvSpPr>
        <p:spPr>
          <a:xfrm>
            <a:off x="4968010" y="4295541"/>
            <a:ext cx="51750" cy="106087"/>
          </a:xfrm>
          <a:custGeom>
            <a:avLst/>
            <a:gdLst>
              <a:gd name="connsiteX0" fmla="*/ 0 w 51750"/>
              <a:gd name="connsiteY0" fmla="*/ 80212 h 106087"/>
              <a:gd name="connsiteX1" fmla="*/ 25875 w 51750"/>
              <a:gd name="connsiteY1" fmla="*/ 106087 h 106087"/>
              <a:gd name="connsiteX2" fmla="*/ 51750 w 51750"/>
              <a:gd name="connsiteY2" fmla="*/ 80212 h 106087"/>
              <a:gd name="connsiteX3" fmla="*/ 51750 w 51750"/>
              <a:gd name="connsiteY3" fmla="*/ 4312 h 106087"/>
              <a:gd name="connsiteX4" fmla="*/ 0 w 51750"/>
              <a:gd name="connsiteY4" fmla="*/ 0 h 106087"/>
              <a:gd name="connsiteX5" fmla="*/ 0 w 51750"/>
              <a:gd name="connsiteY5" fmla="*/ 80212 h 1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06087">
                <a:moveTo>
                  <a:pt x="0" y="80212"/>
                </a:moveTo>
                <a:cubicBezTo>
                  <a:pt x="0" y="94875"/>
                  <a:pt x="11212" y="106087"/>
                  <a:pt x="25875" y="106087"/>
                </a:cubicBezTo>
                <a:cubicBezTo>
                  <a:pt x="40538" y="106087"/>
                  <a:pt x="51750" y="94875"/>
                  <a:pt x="51750" y="80212"/>
                </a:cubicBezTo>
                <a:lnTo>
                  <a:pt x="51750" y="4312"/>
                </a:lnTo>
                <a:lnTo>
                  <a:pt x="0" y="0"/>
                </a:lnTo>
                <a:lnTo>
                  <a:pt x="0" y="80212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F0BA4A35-13AD-4882-2EA3-0B84B8F36571}"/>
              </a:ext>
            </a:extLst>
          </p:cNvPr>
          <p:cNvSpPr/>
          <p:nvPr/>
        </p:nvSpPr>
        <p:spPr>
          <a:xfrm>
            <a:off x="4853555" y="4225723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0" name="Freihandform: Form 109">
            <a:extLst>
              <a:ext uri="{FF2B5EF4-FFF2-40B4-BE49-F238E27FC236}">
                <a16:creationId xmlns:a16="http://schemas.microsoft.com/office/drawing/2014/main" id="{841EC66F-FC8C-1C6C-1351-213E44B044D2}"/>
              </a:ext>
            </a:extLst>
          </p:cNvPr>
          <p:cNvSpPr/>
          <p:nvPr/>
        </p:nvSpPr>
        <p:spPr>
          <a:xfrm>
            <a:off x="5008887" y="4579348"/>
            <a:ext cx="51750" cy="129375"/>
          </a:xfrm>
          <a:custGeom>
            <a:avLst/>
            <a:gdLst>
              <a:gd name="connsiteX0" fmla="*/ 0 w 51750"/>
              <a:gd name="connsiteY0" fmla="*/ 103500 h 129375"/>
              <a:gd name="connsiteX1" fmla="*/ 25875 w 51750"/>
              <a:gd name="connsiteY1" fmla="*/ 129375 h 129375"/>
              <a:gd name="connsiteX2" fmla="*/ 51750 w 51750"/>
              <a:gd name="connsiteY2" fmla="*/ 103500 h 129375"/>
              <a:gd name="connsiteX3" fmla="*/ 51750 w 51750"/>
              <a:gd name="connsiteY3" fmla="*/ 4313 h 129375"/>
              <a:gd name="connsiteX4" fmla="*/ 0 w 51750"/>
              <a:gd name="connsiteY4" fmla="*/ 0 h 129375"/>
              <a:gd name="connsiteX5" fmla="*/ 0 w 51750"/>
              <a:gd name="connsiteY5" fmla="*/ 103500 h 12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29375">
                <a:moveTo>
                  <a:pt x="0" y="103500"/>
                </a:moveTo>
                <a:cubicBezTo>
                  <a:pt x="0" y="118162"/>
                  <a:pt x="11212" y="129375"/>
                  <a:pt x="25875" y="129375"/>
                </a:cubicBezTo>
                <a:cubicBezTo>
                  <a:pt x="40538" y="129375"/>
                  <a:pt x="51750" y="118162"/>
                  <a:pt x="51750" y="103500"/>
                </a:cubicBezTo>
                <a:lnTo>
                  <a:pt x="51750" y="4313"/>
                </a:lnTo>
                <a:lnTo>
                  <a:pt x="0" y="0"/>
                </a:lnTo>
                <a:lnTo>
                  <a:pt x="0" y="103500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2" name="Freihandform: Form 111">
            <a:extLst>
              <a:ext uri="{FF2B5EF4-FFF2-40B4-BE49-F238E27FC236}">
                <a16:creationId xmlns:a16="http://schemas.microsoft.com/office/drawing/2014/main" id="{812C3ADA-3AAA-83B1-7847-A9C781AC475B}"/>
              </a:ext>
            </a:extLst>
          </p:cNvPr>
          <p:cNvSpPr/>
          <p:nvPr/>
        </p:nvSpPr>
        <p:spPr>
          <a:xfrm>
            <a:off x="5172762" y="4602635"/>
            <a:ext cx="51750" cy="106087"/>
          </a:xfrm>
          <a:custGeom>
            <a:avLst/>
            <a:gdLst>
              <a:gd name="connsiteX0" fmla="*/ 0 w 51750"/>
              <a:gd name="connsiteY0" fmla="*/ 80212 h 106087"/>
              <a:gd name="connsiteX1" fmla="*/ 25875 w 51750"/>
              <a:gd name="connsiteY1" fmla="*/ 106087 h 106087"/>
              <a:gd name="connsiteX2" fmla="*/ 51750 w 51750"/>
              <a:gd name="connsiteY2" fmla="*/ 80212 h 106087"/>
              <a:gd name="connsiteX3" fmla="*/ 51750 w 51750"/>
              <a:gd name="connsiteY3" fmla="*/ 4312 h 106087"/>
              <a:gd name="connsiteX4" fmla="*/ 0 w 51750"/>
              <a:gd name="connsiteY4" fmla="*/ 0 h 106087"/>
              <a:gd name="connsiteX5" fmla="*/ 0 w 51750"/>
              <a:gd name="connsiteY5" fmla="*/ 80212 h 1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06087">
                <a:moveTo>
                  <a:pt x="0" y="80212"/>
                </a:moveTo>
                <a:cubicBezTo>
                  <a:pt x="0" y="94875"/>
                  <a:pt x="11212" y="106087"/>
                  <a:pt x="25875" y="106087"/>
                </a:cubicBezTo>
                <a:cubicBezTo>
                  <a:pt x="40538" y="106087"/>
                  <a:pt x="51750" y="94875"/>
                  <a:pt x="51750" y="80212"/>
                </a:cubicBezTo>
                <a:lnTo>
                  <a:pt x="51750" y="4312"/>
                </a:lnTo>
                <a:lnTo>
                  <a:pt x="0" y="0"/>
                </a:lnTo>
                <a:lnTo>
                  <a:pt x="0" y="80212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Model Description </a:t>
            </a:r>
          </a:p>
        </p:txBody>
      </p:sp>
      <p:sp>
        <p:nvSpPr>
          <p:cNvPr id="116" name="Rectangle 79">
            <a:extLst>
              <a:ext uri="{FF2B5EF4-FFF2-40B4-BE49-F238E27FC236}">
                <a16:creationId xmlns:a16="http://schemas.microsoft.com/office/drawing/2014/main" id="{34094A0E-465F-1ED5-C497-19C7BF0A62C3}"/>
              </a:ext>
            </a:extLst>
          </p:cNvPr>
          <p:cNvSpPr/>
          <p:nvPr/>
        </p:nvSpPr>
        <p:spPr>
          <a:xfrm>
            <a:off x="881443" y="1663585"/>
            <a:ext cx="2951805" cy="523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 sz="1400" dirty="0"/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10294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1319095"/>
            <a:ext cx="1602746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D8390"/>
                </a:solidFill>
              </a:rPr>
              <a:t>Agent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Behaviou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Model Description – </a:t>
            </a:r>
            <a:r>
              <a:rPr lang="de-DE" dirty="0" err="1"/>
              <a:t>Behaviou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gents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1D7264E-83BF-0DDC-2431-E6C6751097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018" y="1880407"/>
            <a:ext cx="6863809" cy="571134"/>
          </a:xfrm>
          <a:prstGeom prst="rect">
            <a:avLst/>
          </a:prstGeom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E92A5318-A8E2-1A4D-FC57-1498719C53B0}"/>
              </a:ext>
            </a:extLst>
          </p:cNvPr>
          <p:cNvSpPr/>
          <p:nvPr/>
        </p:nvSpPr>
        <p:spPr bwMode="gray">
          <a:xfrm>
            <a:off x="1654629" y="1880407"/>
            <a:ext cx="4299851" cy="3344736"/>
          </a:xfrm>
          <a:prstGeom prst="rect">
            <a:avLst/>
          </a:prstGeom>
          <a:solidFill>
            <a:srgbClr val="0D8390">
              <a:alpha val="18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C66EEE7C-C6D7-D23E-B53F-8226A1B22563}"/>
              </a:ext>
            </a:extLst>
          </p:cNvPr>
          <p:cNvSpPr/>
          <p:nvPr/>
        </p:nvSpPr>
        <p:spPr bwMode="gray">
          <a:xfrm>
            <a:off x="6035705" y="1880407"/>
            <a:ext cx="2603422" cy="3344736"/>
          </a:xfrm>
          <a:prstGeom prst="rect">
            <a:avLst/>
          </a:prstGeom>
          <a:solidFill>
            <a:srgbClr val="046A38">
              <a:alpha val="18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B1410067-C896-B916-E1DF-5B8176307AA2}"/>
              </a:ext>
            </a:extLst>
          </p:cNvPr>
          <p:cNvCxnSpPr>
            <a:cxnSpLocks/>
          </p:cNvCxnSpPr>
          <p:nvPr/>
        </p:nvCxnSpPr>
        <p:spPr>
          <a:xfrm rot="10800000">
            <a:off x="2264230" y="2451541"/>
            <a:ext cx="0" cy="5638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6196A370-EB53-E831-6815-55D28C21422E}"/>
              </a:ext>
            </a:extLst>
          </p:cNvPr>
          <p:cNvSpPr txBox="1"/>
          <p:nvPr/>
        </p:nvSpPr>
        <p:spPr>
          <a:xfrm>
            <a:off x="1791004" y="3061921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Local</a:t>
            </a:r>
            <a:r>
              <a:rPr lang="de-DE" dirty="0">
                <a:solidFill>
                  <a:srgbClr val="313131"/>
                </a:solidFill>
              </a:rPr>
              <a:t> Alignment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28E72B6-D51D-EAFA-576F-37DA46ACB9B0}"/>
              </a:ext>
            </a:extLst>
          </p:cNvPr>
          <p:cNvCxnSpPr>
            <a:cxnSpLocks/>
          </p:cNvCxnSpPr>
          <p:nvPr/>
        </p:nvCxnSpPr>
        <p:spPr>
          <a:xfrm rot="10800000">
            <a:off x="3709099" y="2451541"/>
            <a:ext cx="0" cy="143664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CB47800D-5F21-3091-8989-A7521D639921}"/>
              </a:ext>
            </a:extLst>
          </p:cNvPr>
          <p:cNvSpPr txBox="1"/>
          <p:nvPr/>
        </p:nvSpPr>
        <p:spPr>
          <a:xfrm>
            <a:off x="3058879" y="3934768"/>
            <a:ext cx="148841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Local</a:t>
            </a:r>
            <a:r>
              <a:rPr lang="de-DE" dirty="0">
                <a:solidFill>
                  <a:srgbClr val="313131"/>
                </a:solidFill>
              </a:rPr>
              <a:t> Repulsion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EB58C822-901A-75B9-3722-0B315CF6F78B}"/>
              </a:ext>
            </a:extLst>
          </p:cNvPr>
          <p:cNvCxnSpPr>
            <a:cxnSpLocks/>
          </p:cNvCxnSpPr>
          <p:nvPr/>
        </p:nvCxnSpPr>
        <p:spPr>
          <a:xfrm rot="10800000">
            <a:off x="5257807" y="2451541"/>
            <a:ext cx="0" cy="5638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C459DCD9-870F-1EDF-F19D-842908692306}"/>
              </a:ext>
            </a:extLst>
          </p:cNvPr>
          <p:cNvSpPr txBox="1"/>
          <p:nvPr/>
        </p:nvSpPr>
        <p:spPr>
          <a:xfrm>
            <a:off x="4607587" y="3061921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Attraction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center</a:t>
            </a:r>
            <a:endParaRPr lang="de-DE" dirty="0">
              <a:solidFill>
                <a:srgbClr val="313131"/>
              </a:solidFill>
            </a:endParaRP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421DDC10-97CD-6F9C-2768-0ECE7039EC5D}"/>
              </a:ext>
            </a:extLst>
          </p:cNvPr>
          <p:cNvCxnSpPr>
            <a:cxnSpLocks/>
          </p:cNvCxnSpPr>
          <p:nvPr/>
        </p:nvCxnSpPr>
        <p:spPr>
          <a:xfrm rot="10800000">
            <a:off x="6725047" y="2451541"/>
            <a:ext cx="0" cy="143664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F2A8D9C3-6CDB-1A36-50C3-A1741DDBDF24}"/>
              </a:ext>
            </a:extLst>
          </p:cNvPr>
          <p:cNvSpPr txBox="1"/>
          <p:nvPr/>
        </p:nvSpPr>
        <p:spPr>
          <a:xfrm>
            <a:off x="6074827" y="3934768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313131"/>
                </a:solidFill>
              </a:rPr>
              <a:t>Repulsion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Shepherd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45B09FBD-89D5-8A89-53C6-21FB725FD5FA}"/>
              </a:ext>
            </a:extLst>
          </p:cNvPr>
          <p:cNvSpPr txBox="1"/>
          <p:nvPr/>
        </p:nvSpPr>
        <p:spPr>
          <a:xfrm>
            <a:off x="2727585" y="4893903"/>
            <a:ext cx="26242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0D8390"/>
                </a:solidFill>
              </a:rPr>
              <a:t>Agent-Agent Interactions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59DE5C9E-89A8-C8B6-5BCF-028B72F09842}"/>
              </a:ext>
            </a:extLst>
          </p:cNvPr>
          <p:cNvSpPr txBox="1"/>
          <p:nvPr/>
        </p:nvSpPr>
        <p:spPr>
          <a:xfrm>
            <a:off x="6074827" y="4893903"/>
            <a:ext cx="287323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046A38"/>
                </a:solidFill>
              </a:rPr>
              <a:t>Agent-Shepherd Intera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D2E337B8-84D0-F665-4476-DC2A1BD9A24F}"/>
                  </a:ext>
                </a:extLst>
              </p:cNvPr>
              <p:cNvSpPr txBox="1"/>
              <p:nvPr/>
            </p:nvSpPr>
            <p:spPr>
              <a:xfrm>
                <a:off x="1121228" y="5514645"/>
                <a:ext cx="215341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</m:t>
                      </m:r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𝑟𝑒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𝑤𝑒𝑖𝑔h𝑡𝑠</m:t>
                      </m:r>
                    </m:oMath>
                  </m:oMathPara>
                </a14:m>
                <a:endParaRPr lang="de-DE" dirty="0">
                  <a:solidFill>
                    <a:srgbClr val="313131"/>
                  </a:solidFill>
                </a:endParaRPr>
              </a:p>
            </p:txBody>
          </p:sp>
        </mc:Choice>
        <mc:Fallback xmlns="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D2E337B8-84D0-F665-4476-DC2A1BD9A2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1228" y="5514645"/>
                <a:ext cx="2153410" cy="276999"/>
              </a:xfrm>
              <a:prstGeom prst="rect">
                <a:avLst/>
              </a:prstGeom>
              <a:blipFill>
                <a:blip r:embed="rId5"/>
                <a:stretch>
                  <a:fillRect l="-1133" t="-4444" r="-3399" b="-355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2081082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4" grpId="0"/>
      <p:bldP spid="39" grpId="0"/>
      <p:bldP spid="4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00000000-0000-0000-0000-000000000000"/>
  <p:tag name="MIO_UPDATE" val="True"/>
  <p:tag name="MIO_VERSION" val="01.01.0001 00:00:00"/>
  <p:tag name="MIO_DBID" val=""/>
  <p:tag name="MIO_LASTDOWNLOADED" val="01.01.0001 00:00:00.000"/>
  <p:tag name="MIO_FALLBACK_LAYOUT" val="32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5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2"/>
  <p:tag name="MIO_SHOW_DATE" val="False"/>
  <p:tag name="MIO_SHOW_FOOTER" val="False"/>
  <p:tag name="MIO_SHOW_PAGENUMBER" val="True"/>
  <p:tag name="MIO_AVOID_BLANK_LAYOUT" val="False"/>
  <p:tag name="MIO_CD_LAYOUT_VALID_AREA" val="False"/>
  <p:tag name="MIO_NUMBER_OF_VALID_LAYOUTS" val="49"/>
  <p:tag name="MIO_HDS" val="True"/>
  <p:tag name="MIO_SKIPVERSION" val="01.01.0001 00:00:00"/>
  <p:tag name="MIO_EKGUID" val="15e6b1f2-4f4a-4ffc-adb1-bb269b750cdb"/>
  <p:tag name="MIO_UPDATE" val="True"/>
  <p:tag name="MIO_VERSION" val="19.03.2021 10:24:30"/>
  <p:tag name="MIO_DBID" val="fede6900-895c-4459-b97c-72b2b9dac459"/>
  <p:tag name="MIO_LASTDOWNLOADED" val="19.03.2021 11:32:18.789"/>
  <p:tag name="MIO_OBJECTNAME" val="Deloitte 16:9 (2021)"/>
  <p:tag name="MIO_CDID" val="b832c4bc-5070-4232-bfdb-3d42c9da7c2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85</Words>
  <Application>Microsoft Office PowerPoint</Application>
  <PresentationFormat>Breitbild</PresentationFormat>
  <Paragraphs>251</Paragraphs>
  <Slides>29</Slides>
  <Notes>20</Notes>
  <HiddenSlides>1</HiddenSlides>
  <MMClips>5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40" baseType="lpstr">
      <vt:lpstr>-apple-system</vt:lpstr>
      <vt:lpstr>Arial</vt:lpstr>
      <vt:lpstr>Calibri</vt:lpstr>
      <vt:lpstr>Calibri Light</vt:lpstr>
      <vt:lpstr>Cambria Math</vt:lpstr>
      <vt:lpstr>Google Sans</vt:lpstr>
      <vt:lpstr>Verdana</vt:lpstr>
      <vt:lpstr>Wingdings 2</vt:lpstr>
      <vt:lpstr>Office</vt:lpstr>
      <vt:lpstr>Deloitte Brand Theme</vt:lpstr>
      <vt:lpstr>think-cell Slide</vt:lpstr>
      <vt:lpstr>Collective Behavior  Optimal Shepherding  </vt:lpstr>
      <vt:lpstr>PowerPoint-Präsentation</vt:lpstr>
      <vt:lpstr>Agenda </vt:lpstr>
      <vt:lpstr>Introduction: Shepherding Problem</vt:lpstr>
      <vt:lpstr>Introduction: Shepherding Problem</vt:lpstr>
      <vt:lpstr>Introduction: Shepherding Problem</vt:lpstr>
      <vt:lpstr>Overview </vt:lpstr>
      <vt:lpstr>Model Description </vt:lpstr>
      <vt:lpstr>Model Description – Behaviour of Agents</vt:lpstr>
      <vt:lpstr>Model Description – Behaviour of Shepherd</vt:lpstr>
      <vt:lpstr>Agenda </vt:lpstr>
      <vt:lpstr>Findings </vt:lpstr>
      <vt:lpstr>Video: Droving </vt:lpstr>
      <vt:lpstr>Video: Mustering </vt:lpstr>
      <vt:lpstr>Video: Driving </vt:lpstr>
      <vt:lpstr>Overview </vt:lpstr>
      <vt:lpstr>Model Extensions</vt:lpstr>
      <vt:lpstr>Overview </vt:lpstr>
      <vt:lpstr>Results </vt:lpstr>
      <vt:lpstr>Results </vt:lpstr>
      <vt:lpstr>Video: Two Shepherds </vt:lpstr>
      <vt:lpstr>Video: Three Shepherds </vt:lpstr>
      <vt:lpstr>Results: Comparison of timesteps needed</vt:lpstr>
      <vt:lpstr>Results: Benchmark model</vt:lpstr>
      <vt:lpstr>Wrap up!</vt:lpstr>
      <vt:lpstr>Wrap up!</vt:lpstr>
      <vt:lpstr>Wrap up!</vt:lpstr>
      <vt:lpstr>Outlook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ective Behavior  Optimal Shephearding  </dc:title>
  <dc:creator>Franz Muszarsky</dc:creator>
  <cp:lastModifiedBy>Franz Muszarsky</cp:lastModifiedBy>
  <cp:revision>6</cp:revision>
  <dcterms:created xsi:type="dcterms:W3CDTF">2024-01-03T20:27:13Z</dcterms:created>
  <dcterms:modified xsi:type="dcterms:W3CDTF">2024-01-07T19:40:14Z</dcterms:modified>
</cp:coreProperties>
</file>